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0.xml" ContentType="application/vnd.openxmlformats-officedocument.theme+xml"/>
  <Override PartName="/ppt/theme/themeOverride1.xml" ContentType="application/vnd.openxmlformats-officedocument.themeOverrid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1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2.xml" ContentType="application/vnd.openxmlformats-officedocument.theme+xml"/>
  <Override PartName="/ppt/theme/themeOverride2.xml" ContentType="application/vnd.openxmlformats-officedocument.themeOverrid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3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6.xml" ContentType="application/vnd.openxmlformats-officedocument.theme+xml"/>
  <Override PartName="/ppt/theme/themeOverride3.xml" ContentType="application/vnd.openxmlformats-officedocument.themeOverrid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7.xml" ContentType="application/vnd.openxmlformats-officedocument.theme+xml"/>
  <Override PartName="/ppt/theme/themeOverride4.xml" ContentType="application/vnd.openxmlformats-officedocument.themeOverrid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8.xml" ContentType="application/vnd.openxmlformats-officedocument.theme+xml"/>
  <Override PartName="/ppt/theme/themeOverride5.xml" ContentType="application/vnd.openxmlformats-officedocument.themeOverrid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9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20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21.xml" ContentType="application/vnd.openxmlformats-officedocument.theme+xml"/>
  <Override PartName="/ppt/theme/themeOverride6.xml" ContentType="application/vnd.openxmlformats-officedocument.themeOverride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3.xml" ContentType="application/vnd.openxmlformats-officedocument.theme+xml"/>
  <Override PartName="/ppt/theme/themeOverride7.xml" ContentType="application/vnd.openxmlformats-officedocument.themeOverrid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4.xml" ContentType="application/vnd.openxmlformats-officedocument.theme+xml"/>
  <Override PartName="/ppt/theme/themeOverride8.xml" ContentType="application/vnd.openxmlformats-officedocument.themeOverrid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25.xml" ContentType="application/vnd.openxmlformats-officedocument.theme+xml"/>
  <Override PartName="/ppt/theme/themeOverride9.xml" ContentType="application/vnd.openxmlformats-officedocument.themeOverrid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6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7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8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9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993" r:id="rId2"/>
    <p:sldMasterId id="2147484043" r:id="rId3"/>
    <p:sldMasterId id="2147484060" r:id="rId4"/>
    <p:sldMasterId id="2147484128" r:id="rId5"/>
    <p:sldMasterId id="2147484141" r:id="rId6"/>
    <p:sldMasterId id="2147484146" r:id="rId7"/>
    <p:sldMasterId id="2147484212" r:id="rId8"/>
    <p:sldMasterId id="2147484337" r:id="rId9"/>
    <p:sldMasterId id="2147484350" r:id="rId10"/>
    <p:sldMasterId id="2147484400" r:id="rId11"/>
    <p:sldMasterId id="2147484439" r:id="rId12"/>
    <p:sldMasterId id="2147484451" r:id="rId13"/>
    <p:sldMasterId id="2147484462" r:id="rId14"/>
    <p:sldMasterId id="2147484474" r:id="rId15"/>
    <p:sldMasterId id="2147484486" r:id="rId16"/>
    <p:sldMasterId id="2147484501" r:id="rId17"/>
    <p:sldMasterId id="2147484590" r:id="rId18"/>
    <p:sldMasterId id="2147484757" r:id="rId19"/>
    <p:sldMasterId id="2147484880" r:id="rId20"/>
    <p:sldMasterId id="2147484994" r:id="rId21"/>
    <p:sldMasterId id="2147485020" r:id="rId22"/>
    <p:sldMasterId id="2147485032" r:id="rId23"/>
    <p:sldMasterId id="2147485070" r:id="rId24"/>
    <p:sldMasterId id="2147485082" r:id="rId25"/>
    <p:sldMasterId id="2147485098" r:id="rId26"/>
    <p:sldMasterId id="2147485127" r:id="rId27"/>
    <p:sldMasterId id="2147485140" r:id="rId28"/>
    <p:sldMasterId id="2147485153" r:id="rId29"/>
    <p:sldMasterId id="2147485165" r:id="rId30"/>
  </p:sldMasterIdLst>
  <p:notesMasterIdLst>
    <p:notesMasterId r:id="rId63"/>
  </p:notesMasterIdLst>
  <p:handoutMasterIdLst>
    <p:handoutMasterId r:id="rId64"/>
  </p:handoutMasterIdLst>
  <p:sldIdLst>
    <p:sldId id="613" r:id="rId31"/>
    <p:sldId id="408" r:id="rId32"/>
    <p:sldId id="409" r:id="rId33"/>
    <p:sldId id="256" r:id="rId34"/>
    <p:sldId id="849" r:id="rId35"/>
    <p:sldId id="1256" r:id="rId36"/>
    <p:sldId id="1279" r:id="rId37"/>
    <p:sldId id="1294" r:id="rId38"/>
    <p:sldId id="265" r:id="rId39"/>
    <p:sldId id="264" r:id="rId40"/>
    <p:sldId id="258" r:id="rId41"/>
    <p:sldId id="257" r:id="rId42"/>
    <p:sldId id="260" r:id="rId43"/>
    <p:sldId id="261" r:id="rId44"/>
    <p:sldId id="262" r:id="rId45"/>
    <p:sldId id="263" r:id="rId46"/>
    <p:sldId id="266" r:id="rId47"/>
    <p:sldId id="1293" r:id="rId48"/>
    <p:sldId id="259" r:id="rId49"/>
    <p:sldId id="911" r:id="rId50"/>
    <p:sldId id="909" r:id="rId51"/>
    <p:sldId id="918" r:id="rId52"/>
    <p:sldId id="917" r:id="rId53"/>
    <p:sldId id="907" r:id="rId54"/>
    <p:sldId id="1311" r:id="rId55"/>
    <p:sldId id="908" r:id="rId56"/>
    <p:sldId id="920" r:id="rId57"/>
    <p:sldId id="1271" r:id="rId58"/>
    <p:sldId id="431" r:id="rId59"/>
    <p:sldId id="432" r:id="rId60"/>
    <p:sldId id="1292" r:id="rId61"/>
    <p:sldId id="1278" r:id="rId62"/>
  </p:sldIdLst>
  <p:sldSz cx="9144000" cy="6858000" type="screen4x3"/>
  <p:notesSz cx="6858000" cy="9296400"/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0000"/>
    <a:srgbClr val="800000"/>
    <a:srgbClr val="FFFF00"/>
    <a:srgbClr val="E8E82C"/>
    <a:srgbClr val="DBD739"/>
    <a:srgbClr val="4D4D4D"/>
    <a:srgbClr val="000000"/>
    <a:srgbClr val="000066"/>
    <a:srgbClr val="CFD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53" autoAdjust="0"/>
    <p:restoredTop sz="61287" autoAdjust="0"/>
  </p:normalViewPr>
  <p:slideViewPr>
    <p:cSldViewPr>
      <p:cViewPr varScale="1">
        <p:scale>
          <a:sx n="70" d="100"/>
          <a:sy n="70" d="100"/>
        </p:scale>
        <p:origin x="2946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04" y="96"/>
      </p:cViewPr>
      <p:guideLst>
        <p:guide orient="horz" pos="2928"/>
        <p:guide pos="215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9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50" Type="http://schemas.openxmlformats.org/officeDocument/2006/relationships/slide" Target="slides/slide20.xml"/><Relationship Id="rId55" Type="http://schemas.openxmlformats.org/officeDocument/2006/relationships/slide" Target="slides/slide25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slide" Target="slides/slide23.xml"/><Relationship Id="rId58" Type="http://schemas.openxmlformats.org/officeDocument/2006/relationships/slide" Target="slides/slide28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6.xml"/><Relationship Id="rId49" Type="http://schemas.openxmlformats.org/officeDocument/2006/relationships/slide" Target="slides/slide19.xml"/><Relationship Id="rId57" Type="http://schemas.openxmlformats.org/officeDocument/2006/relationships/slide" Target="slides/slide27.xml"/><Relationship Id="rId61" Type="http://schemas.openxmlformats.org/officeDocument/2006/relationships/slide" Target="slides/slide3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slide" Target="slides/slide22.xml"/><Relationship Id="rId60" Type="http://schemas.openxmlformats.org/officeDocument/2006/relationships/slide" Target="slides/slide30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slide" Target="slides/slide26.xml"/><Relationship Id="rId64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59" Type="http://schemas.openxmlformats.org/officeDocument/2006/relationships/slide" Target="slides/slide29.xml"/><Relationship Id="rId67" Type="http://schemas.openxmlformats.org/officeDocument/2006/relationships/theme" Target="theme/theme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1.xml"/><Relationship Id="rId54" Type="http://schemas.openxmlformats.org/officeDocument/2006/relationships/slide" Target="slides/slide24.xml"/><Relationship Id="rId62" Type="http://schemas.openxmlformats.org/officeDocument/2006/relationships/slide" Target="slides/slide3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035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9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035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8F228FD-76E9-4F14-A90D-10ACA0AA46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30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>
            <a:lvl1pPr algn="l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035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>
            <a:lvl1pPr algn="r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6421" y="4416432"/>
            <a:ext cx="5486711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b" anchorCtr="0" compatLnSpc="1">
            <a:prstTxWarp prst="textNoShape">
              <a:avLst/>
            </a:prstTxWarp>
          </a:bodyPr>
          <a:lstStyle>
            <a:lvl1pPr algn="l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035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b" anchorCtr="0" compatLnSpc="1">
            <a:prstTxWarp prst="textNoShape">
              <a:avLst/>
            </a:prstTxWarp>
          </a:bodyPr>
          <a:lstStyle>
            <a:lvl1pPr algn="r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6612178-27A5-466B-9637-79029E7A2A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8677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alt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96433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1B0A2-C34C-49D2-9537-85D27F905F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4963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43AFE5C8-946B-437E-87BC-C5FE5FAD9850}" type="slidenum">
              <a:rPr lang="en-US" altLang="en-US" sz="1200">
                <a:solidFill>
                  <a:prstClr val="black"/>
                </a:solidFill>
              </a:rPr>
              <a:pPr eaLnBrk="1" hangingPunct="1"/>
              <a:t>28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588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2CB4D7B-E2D2-47D0-9AD0-655080FB3B3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4161B1C7-4CE7-4D5E-93D0-CA8C293218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Tx/>
              <a:buNone/>
            </a:pPr>
            <a:endParaRPr lang="en-US" altLang="en-US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196" name="Slide Number Placeholder 3">
            <a:extLst>
              <a:ext uri="{FF2B5EF4-FFF2-40B4-BE49-F238E27FC236}">
                <a16:creationId xmlns:a16="http://schemas.microsoft.com/office/drawing/2014/main" id="{375F6C3B-40F8-4116-AE65-0021C5A805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fld id="{76C10DB2-4FC5-4252-AFAE-2F8EFA4247D6}" type="slidenum">
              <a:rPr lang="en-US" altLang="en-US" sz="1200" smtClean="0">
                <a:solidFill>
                  <a:schemeClr val="tx1"/>
                </a:solidFill>
              </a:rPr>
              <a:pPr/>
              <a:t>29</a:t>
            </a:fld>
            <a:endParaRPr lang="en-US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73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2CB4D7B-E2D2-47D0-9AD0-655080FB3B3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4161B1C7-4CE7-4D5E-93D0-CA8C293218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Tx/>
              <a:buNone/>
            </a:pPr>
            <a:endParaRPr lang="en-US" altLang="en-US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196" name="Slide Number Placeholder 3">
            <a:extLst>
              <a:ext uri="{FF2B5EF4-FFF2-40B4-BE49-F238E27FC236}">
                <a16:creationId xmlns:a16="http://schemas.microsoft.com/office/drawing/2014/main" id="{375F6C3B-40F8-4116-AE65-0021C5A805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fld id="{76C10DB2-4FC5-4252-AFAE-2F8EFA4247D6}" type="slidenum">
              <a:rPr lang="en-US" altLang="en-US" sz="1200" smtClean="0">
                <a:solidFill>
                  <a:schemeClr val="tx1"/>
                </a:solidFill>
              </a:rPr>
              <a:pPr/>
              <a:t>30</a:t>
            </a:fld>
            <a:endParaRPr lang="en-US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4032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0093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068"/>
            <a:fld id="{C3714D66-D25A-4556-8993-54CC32E6A9A8}" type="slidenum">
              <a:rPr lang="en-US" smtClean="0">
                <a:solidFill>
                  <a:srgbClr val="000000"/>
                </a:solidFill>
              </a:rPr>
              <a:pPr defTabSz="922068"/>
              <a:t>3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995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>
            <a:extLst>
              <a:ext uri="{FF2B5EF4-FFF2-40B4-BE49-F238E27FC236}">
                <a16:creationId xmlns:a16="http://schemas.microsoft.com/office/drawing/2014/main" id="{17D231A3-84AF-46DD-9975-B1DDDAFA258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9E328C-DE92-4160-A3EF-E2A02DD909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148" name="Slide Number Placeholder 3">
            <a:extLst>
              <a:ext uri="{FF2B5EF4-FFF2-40B4-BE49-F238E27FC236}">
                <a16:creationId xmlns:a16="http://schemas.microsoft.com/office/drawing/2014/main" id="{2D9677E5-0270-4A67-BAD6-51C44B5C39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fld id="{30740FC2-C91C-4075-B47F-7BEB0AD16F13}" type="slidenum">
              <a:rPr lang="en-US" altLang="en-US" sz="1200" smtClean="0">
                <a:solidFill>
                  <a:schemeClr val="tx1"/>
                </a:solidFill>
              </a:rPr>
              <a:pPr/>
              <a:t>2</a:t>
            </a:fld>
            <a:endParaRPr lang="en-US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974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>
            <a:extLst>
              <a:ext uri="{FF2B5EF4-FFF2-40B4-BE49-F238E27FC236}">
                <a16:creationId xmlns:a16="http://schemas.microsoft.com/office/drawing/2014/main" id="{CBAC250D-4203-4984-AF72-FCF45D9EEBF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Notes Placeholder 2">
            <a:extLst>
              <a:ext uri="{FF2B5EF4-FFF2-40B4-BE49-F238E27FC236}">
                <a16:creationId xmlns:a16="http://schemas.microsoft.com/office/drawing/2014/main" id="{A90876CA-ABC5-4D02-8B7F-5BFAB6EB7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Tx/>
              <a:buNone/>
            </a:pPr>
            <a:endParaRPr lang="en-US" altLang="en-US" sz="1800" dirty="0">
              <a:latin typeface="Arial" panose="020B0604020202020204" pitchFamily="34" charset="0"/>
            </a:endParaRPr>
          </a:p>
        </p:txBody>
      </p:sp>
      <p:sp>
        <p:nvSpPr>
          <p:cNvPr id="10244" name="Slide Number Placeholder 3">
            <a:extLst>
              <a:ext uri="{FF2B5EF4-FFF2-40B4-BE49-F238E27FC236}">
                <a16:creationId xmlns:a16="http://schemas.microsoft.com/office/drawing/2014/main" id="{519DE3F4-B47F-4050-9819-DE40D6C0AD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fld id="{B4BC49DC-B5B6-4DB7-A4B7-AE08E7CB12E0}" type="slidenum">
              <a:rPr lang="en-US" altLang="en-US" sz="1200" smtClean="0">
                <a:solidFill>
                  <a:schemeClr val="tx1"/>
                </a:solidFill>
              </a:rPr>
              <a:pPr/>
              <a:t>3</a:t>
            </a:fld>
            <a:endParaRPr lang="en-US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05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203"/>
            <a:fld id="{CDC24C2D-D34B-4348-95E4-773E64430FE9}" type="slidenum">
              <a:rPr lang="en-US" smtClean="0"/>
              <a:pPr defTabSz="922203"/>
              <a:t>4</a:t>
            </a:fld>
            <a:endParaRPr lang="en-US" dirty="0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672937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612178-27A5-466B-9637-79029E7A2A1E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561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816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0328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559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94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4.xml"/><Relationship Id="rId1" Type="http://schemas.openxmlformats.org/officeDocument/2006/relationships/themeOverride" Target="../theme/themeOverride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5.xml"/><Relationship Id="rId1" Type="http://schemas.openxmlformats.org/officeDocument/2006/relationships/themeOverride" Target="../theme/themeOverride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chemeClr val="tx1"/>
              </a:solidFill>
              <a:latin typeface="Helvetica" pitchFamily="34" charset="0"/>
              <a:cs typeface="Arial" charset="0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52400"/>
            <a:ext cx="15240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6ED0CC-402B-429D-A390-AE23B0BE7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141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613927-0511-4448-9F7F-075336A046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7168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D152C1-4046-4B5E-B953-7471374AF8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9956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57600" y="685800"/>
            <a:ext cx="1784350" cy="117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427965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0384D-5028-46EB-837D-55BF87D5E4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9382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94843-7390-4E37-9907-A00D28135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2892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C0E0A-1BB6-4683-BEBA-D57DBC346B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93227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9724E-6220-4046-BD01-045B940EF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0469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588488-312F-4D87-A510-7CDFD30859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71854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11F1E-B71E-4881-ADA1-586327B055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48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71914-6480-4819-8985-A2A50CFB57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246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6ED0CC-402B-429D-A390-AE23B0BE7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728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613927-0511-4448-9F7F-075336A046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9322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D152C1-4046-4B5E-B953-7471374AF8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12483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47091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6721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2312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 dirty="0"/>
              <a:t>Top Line is 18 point italic</a:t>
            </a:r>
            <a:br>
              <a:rPr lang="en-US" sz="1800" b="0" i="1" dirty="0"/>
            </a:br>
            <a:r>
              <a:rPr lang="en-US" sz="20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359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3234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617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488" y="0"/>
            <a:ext cx="7696200" cy="1039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6825"/>
            <a:ext cx="8423275" cy="482917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>
              <a:solidFill>
                <a:srgbClr val="00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>
              <a:solidFill>
                <a:srgbClr val="000000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7561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180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3732532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12309572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78205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81161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94441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9756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7011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81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Office_CI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17850" y="685800"/>
            <a:ext cx="2832100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24100" y="5105400"/>
            <a:ext cx="4419600" cy="533400"/>
          </a:xfrm>
        </p:spPr>
        <p:txBody>
          <a:bodyPr/>
          <a:lstStyle>
            <a:lvl1pPr marL="0" indent="0" algn="ctr">
              <a:buFont typeface="Arial" pitchFamily="-112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1429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84389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41221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3312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7607987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0927230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042453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45233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996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3" y="498475"/>
            <a:ext cx="3976687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78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F64F3-5A75-43BF-8E3D-F156668F6F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BB8596-4565-4000-B359-3E47518963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277945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4C7062-3364-4E74-B29E-E7ACA18838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49631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7DED19-51B7-403D-B362-357E1D68E0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99539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C2E053-EB6A-4F6A-BE05-D73179BC979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52760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A791B4-46FE-4AB1-A9BA-78A6B89CA2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43840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2400" b="1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2400" b="1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6C698E8-A200-4057-8068-D257CCB2C82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6397094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6519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E71AB16-E102-4FFA-8AB7-79B332B83CD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405612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87BBCD-B0A2-430E-BC71-BE38434504F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97689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55760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4913CE-6EE3-49D4-AFDF-934D51CB84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8D4948-0F02-46EB-A779-4C6D2FF100B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661865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orizonta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552450"/>
            <a:ext cx="3743325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2890838" y="3124200"/>
            <a:ext cx="3509962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defTabSz="457200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400">
                <a:solidFill>
                  <a:srgbClr val="8A162C"/>
                </a:solidFill>
              </a:rPr>
              <a:t>Thank you!  </a:t>
            </a:r>
            <a:endParaRPr lang="en-US" sz="4400" u="sng">
              <a:solidFill>
                <a:srgbClr val="8A162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25D693-C768-4081-8216-386161F7103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03616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rgbClr val="000000"/>
              </a:solidFill>
              <a:latin typeface="Helvetica" charset="0"/>
              <a:ea typeface="ＭＳ Ｐゴシック" charset="0"/>
              <a:cs typeface="Arial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2860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81778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0412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3541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338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8533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682884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3713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653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813386-71B3-4581-B972-18F1E3098B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3615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456557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452293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fr-FR" altLang="en-US" sz="24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sz="1000">
              <a:solidFill>
                <a:srgbClr val="000000"/>
              </a:solidFill>
              <a:latin typeface="Helvetic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28600" y="22860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5982380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882373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1176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0335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8504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01452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8266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968DDE-2A33-42D5-8810-6CFC113C4A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41430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163761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16635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378228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4"/>
            <a:ext cx="8305800" cy="1470025"/>
          </a:xfrm>
        </p:spPr>
        <p:txBody>
          <a:bodyPr/>
          <a:lstStyle>
            <a:lvl1pPr algn="ctr"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4" y="498895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218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3"/>
            <a:ext cx="8229600" cy="452596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90902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4297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350" b="1" i="1" baseline="0">
                <a:latin typeface="+mn-lt"/>
              </a:defRPr>
            </a:lvl1pPr>
          </a:lstStyle>
          <a:p>
            <a:r>
              <a:rPr lang="en-US" sz="1350" b="0" i="1" dirty="0"/>
              <a:t>Top Line is 18 point italic</a:t>
            </a:r>
            <a:br>
              <a:rPr lang="en-US" sz="1350" b="0" i="1" dirty="0"/>
            </a:br>
            <a:r>
              <a:rPr lang="en-US" sz="15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5003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2555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3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26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76B2F9-0AC4-44FC-BD57-41D9E766A5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3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  <a:ea typeface="ＭＳ Ｐゴシック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6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457203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  <a:ea typeface="ＭＳ Ｐゴシック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67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4846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3747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3"/>
            <a:ext cx="5638800" cy="365125"/>
          </a:xfrm>
        </p:spPr>
        <p:txBody>
          <a:bodyPr/>
          <a:lstStyle>
            <a:lvl1pPr marL="0" indent="0">
              <a:buFontTx/>
              <a:buNone/>
              <a:defRPr sz="900" b="0" i="1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 sz="900" b="0" i="1">
                <a:solidFill>
                  <a:schemeClr val="accent1"/>
                </a:solidFill>
              </a:defRPr>
            </a:lvl2pPr>
            <a:lvl3pPr marL="685800" indent="0">
              <a:buFontTx/>
              <a:buNone/>
              <a:defRPr sz="900" b="0" i="1">
                <a:solidFill>
                  <a:schemeClr val="accent1"/>
                </a:solidFill>
              </a:defRPr>
            </a:lvl3pPr>
            <a:lvl4pPr marL="1028700" indent="0">
              <a:buFontTx/>
              <a:buNone/>
              <a:defRPr sz="900" b="0" i="1">
                <a:solidFill>
                  <a:schemeClr val="accent1"/>
                </a:solidFill>
              </a:defRPr>
            </a:lvl4pPr>
            <a:lvl5pPr marL="1371600" indent="0">
              <a:buFontTx/>
              <a:buNone/>
              <a:defRPr sz="9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92998198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3"/>
            <a:ext cx="5638800" cy="365125"/>
          </a:xfrm>
        </p:spPr>
        <p:txBody>
          <a:bodyPr/>
          <a:lstStyle>
            <a:lvl1pPr marL="0" indent="0">
              <a:buFontTx/>
              <a:buNone/>
              <a:defRPr sz="900" b="0" i="1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 sz="900" b="0" i="1">
                <a:solidFill>
                  <a:schemeClr val="accent1"/>
                </a:solidFill>
              </a:defRPr>
            </a:lvl2pPr>
            <a:lvl3pPr marL="685800" indent="0">
              <a:buFontTx/>
              <a:buNone/>
              <a:defRPr sz="900" b="0" i="1">
                <a:solidFill>
                  <a:schemeClr val="accent1"/>
                </a:solidFill>
              </a:defRPr>
            </a:lvl3pPr>
            <a:lvl4pPr marL="1028700" indent="0">
              <a:buFontTx/>
              <a:buNone/>
              <a:defRPr sz="900" b="0" i="1">
                <a:solidFill>
                  <a:schemeClr val="accent1"/>
                </a:solidFill>
              </a:defRPr>
            </a:lvl4pPr>
            <a:lvl5pPr marL="1371600" indent="0">
              <a:buFontTx/>
              <a:buNone/>
              <a:defRPr sz="9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5902573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3092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0656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8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91506" y="3208840"/>
            <a:ext cx="2674130" cy="6001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300" b="1" dirty="0">
                <a:solidFill>
                  <a:srgbClr val="8A162C"/>
                </a:solidFill>
                <a:latin typeface="Arial"/>
                <a:ea typeface="ＭＳ Ｐゴシック" charset="0"/>
              </a:rPr>
              <a:t>Thank you!  </a:t>
            </a:r>
            <a:endParaRPr lang="en-US" sz="3300" b="1" u="sng" dirty="0">
              <a:solidFill>
                <a:srgbClr val="8A162C"/>
              </a:solidFill>
              <a:latin typeface="Arial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3261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First level bullets in 24pts</a:t>
            </a:r>
          </a:p>
          <a:p>
            <a:pPr lvl="1"/>
            <a:r>
              <a:rPr lang="en-US" dirty="0"/>
              <a:t>Second level bullets in 22pts</a:t>
            </a:r>
          </a:p>
          <a:p>
            <a:pPr lvl="2"/>
            <a:r>
              <a:rPr lang="en-US" dirty="0"/>
              <a:t>Third level bullets in 20pts</a:t>
            </a:r>
          </a:p>
          <a:p>
            <a:pPr lvl="3"/>
            <a:r>
              <a:rPr lang="en-US" dirty="0"/>
              <a:t>Next level bullets in 18pts</a:t>
            </a:r>
          </a:p>
          <a:p>
            <a:pPr lvl="4"/>
            <a:r>
              <a:rPr lang="en-US" dirty="0"/>
              <a:t>Final level bullets in 16pt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27C0-5AFE-D340-B395-D0D9CF6567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Left-Justified Slide Headline Here in Arial 30pts Can Be Up to Two Lines of Text, No Line Below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96178" y="64824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F5DA200-8736-41A7-BA6A-7B7D065B710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034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54223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637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6B9A7-B1B5-4758-95BF-F05FE857EC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6400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 dirty="0"/>
              <a:t>Top Line is 18 point italic</a:t>
            </a:r>
            <a:br>
              <a:rPr lang="en-US" sz="1800" b="0" i="1" dirty="0"/>
            </a:br>
            <a:r>
              <a:rPr lang="en-US" sz="20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80414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1055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2167157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16767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77435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418953681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180292020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768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607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C3141-99D4-4A25-822E-E1C8B3CAAD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453823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027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D8B90-7F1A-45CF-991E-042A5F4844D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3018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2053B-8136-4EFC-A87C-2928D3F8145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671883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08C170-4AE5-47DB-8702-C36E91E274A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0272817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D43F3A-CD9E-4D23-9BA9-F1A4CCD72C1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75920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F220B-7140-428E-85A4-6A409987569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8382721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BB3DAD-CF75-4DEE-99EC-92A4854C72A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2638172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3A9E4-9BE1-4F6C-84B9-BA4F3AB4D6A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795030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AA82C-25D8-4514-BB75-778FA6188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35764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385560-FCD9-46B9-8302-FD40C41BDE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C5AF9-6EAA-417D-8117-3FC051A9569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8442113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7F75B-FE69-4BEA-A6C5-A7DC2723CB1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455854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31930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23538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484790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/>
              <a:t>Top Line is 18 point italic</a:t>
            </a:r>
            <a:br>
              <a:rPr lang="en-US" sz="1800" b="0" i="1"/>
            </a:br>
            <a:r>
              <a:rPr lang="en-US" sz="2000" b="0" i="0"/>
              <a:t>Second Line is 20 point bold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5589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243322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36065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071357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3432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52D29-E691-41A8-8CA3-34060DBB53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77790946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7045648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89655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25397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4400" b="1">
                <a:solidFill>
                  <a:srgbClr val="8A162C"/>
                </a:solidFill>
                <a:latin typeface="Arial"/>
                <a:cs typeface="Arial"/>
              </a:rPr>
              <a:t>Thank you!  </a:t>
            </a:r>
            <a:endParaRPr lang="en-US" sz="4400" b="1" u="sng">
              <a:solidFill>
                <a:srgbClr val="8A162C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383606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7838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2F5E0EE-D5A0-4203-9AA1-063964D65FA7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8BC6F-BA43-4467-BC93-745F4796D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9622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647700"/>
            <a:ext cx="2012950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821313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219201"/>
            <a:ext cx="8305800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96962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39624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1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512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DA7316-886B-4496-A195-2E3EE2521A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305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42259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42463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3962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0"/>
            <a:ext cx="411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24187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38483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66974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09275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3066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21747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2544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608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647700"/>
            <a:ext cx="2012950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82321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81769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 DRAFT - </a:t>
            </a:r>
            <a:fld id="{3C7DC2BC-9C26-42ED-9786-2E2FE499DF6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23920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85950"/>
            <a:ext cx="7772400" cy="2228850"/>
          </a:xfrm>
        </p:spPr>
        <p:txBody>
          <a:bodyPr anchor="b"/>
          <a:lstStyle>
            <a:lvl1pPr algn="r"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pic>
        <p:nvPicPr>
          <p:cNvPr id="12" name="Picture 2" descr="Veritas Crimson Shield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28370070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2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356352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67039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451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54834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6300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14703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1353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325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219201"/>
            <a:ext cx="8305800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15636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45154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74644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93373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5850" y="292630"/>
            <a:ext cx="6858000" cy="647170"/>
          </a:xfrm>
        </p:spPr>
        <p:txBody>
          <a:bodyPr anchor="b"/>
          <a:lstStyle>
            <a:lvl1pPr algn="ctr">
              <a:defRPr sz="30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5850" y="1078971"/>
            <a:ext cx="6858000" cy="50339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7800" y="6610351"/>
            <a:ext cx="1885950" cy="247650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800" y="6245227"/>
            <a:ext cx="457200" cy="365125"/>
          </a:xfrm>
        </p:spPr>
        <p:txBody>
          <a:bodyPr/>
          <a:lstStyle>
            <a:lvl1pPr>
              <a:defRPr sz="900"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286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85950"/>
            <a:ext cx="7772400" cy="2228850"/>
          </a:xfrm>
        </p:spPr>
        <p:txBody>
          <a:bodyPr anchor="b"/>
          <a:lstStyle>
            <a:lvl1pPr algn="r"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pic>
        <p:nvPicPr>
          <p:cNvPr id="12" name="Picture 2" descr="Veritas Crimson Shield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3143881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2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356352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3714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81354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2467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66724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8769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39624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1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80802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67695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6909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97153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6571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1969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5850" y="292630"/>
            <a:ext cx="6858000" cy="647170"/>
          </a:xfrm>
        </p:spPr>
        <p:txBody>
          <a:bodyPr anchor="b"/>
          <a:lstStyle>
            <a:lvl1pPr algn="ctr">
              <a:defRPr sz="30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5850" y="1078971"/>
            <a:ext cx="6858000" cy="50339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35650" y="6499227"/>
            <a:ext cx="1492251" cy="222250"/>
          </a:xfrm>
          <a:prstGeom prst="rect">
            <a:avLst/>
          </a:prstGeom>
        </p:spPr>
        <p:txBody>
          <a:bodyPr/>
          <a:lstStyle>
            <a:lvl1pPr algn="r">
              <a:defRPr sz="750" baseline="0"/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 baseline="0"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82639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DAA4A-A944-354E-B19C-989F673CC3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E20F4F-CE8D-4B43-BA9B-D9DA7CCFB9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11C5B4-EDEC-7841-85BF-20E0A0269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71BDC-DBE3-A34A-9455-BA334A18E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7B650-488D-904C-9190-2F3DABD44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89096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A8A4A-0D74-F942-A551-6D09B2ACD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D8F5F-AAF0-9740-BCF1-64158C00D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0FDDC6-A06E-6B43-A431-B0855A8C3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9BFEB-9314-EC45-8531-08B87588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BF3156-6C25-1542-97F4-034D545E3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653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B2A8-08D5-0E48-88EE-B8CC8A214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960E58-0B47-6F42-A6DA-C4F94BA72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683F08-4B4B-EC4D-B4C4-7129B6C19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2DD7A0-FD1E-5F4C-BEA7-01CE359E2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91F62-C39C-2043-B0D5-140ACBC0F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7693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425F8-65B6-6045-9573-B0E461EBD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23A4B0-26C7-314D-A276-1D37DA33FB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1FD155-4198-F643-B5F2-B7A5A757B9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D80387-4609-6049-82DD-EC1EE2C69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34F961-E9CB-8E41-8D9C-FCC1F5E3B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574662-E96C-C444-A1CE-9EE5E91393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78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305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8989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1AFEE-C47A-0B43-94EF-2A1F66453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88A631-A440-D342-ABC7-08E2985231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946BEF-322D-124E-8D54-656AAC865E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DE2FBB-8839-974D-A563-F13D0C5047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4F6715-1942-6540-8142-E6E03A92A9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8006E0-0717-6841-ADAD-5DC0B26223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E3BBA5-1073-9D4F-A43E-A59E42EFB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06BC36-80EC-9245-8785-0DF04370A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9931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C400E-94BD-F846-A155-F526872B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160214-92C2-C240-B92C-F18D38F33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6131F3-A0AC-804C-ACF8-31578CD76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239BFB-D9BA-D04E-B0FB-3552F0E67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16053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9126F9-957D-BA4E-BC89-F84DA23C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C1A9FC-70F0-A647-811F-AAD917F25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F09DC9-A27E-4848-A1EB-667553955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79903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2C24F-3661-424F-9F69-57289A6B4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2C929-E603-CB49-8F58-EFEBDE2AFC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C9693B-0258-364F-A443-F94C371504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324148-E2D9-6845-891A-B5C5CF9C9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DED34C-1D6D-B448-8ADA-36D59BCAC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3721F4-1A35-8043-98DB-21FDB6AFD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8894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6BFC3-1639-6C45-9B5B-D081DC0DA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B13503-FEB5-5148-976A-0661B1CA21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68139F-D2A1-E240-A180-4382EE670E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126484-6ED6-3844-B584-635A2614F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85E5C8-96B5-DF48-BB5D-565478A0F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D3FD6D-43E3-8145-87CF-32679D9AE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97343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5D1E2-D1CF-D44B-91A5-2FA0A1151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DC2206-95AE-314C-89CA-E774B9798F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F06DB0-4907-094E-87BC-DCD31563C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628BA9-1C25-7648-A77C-403A3913C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E8EFF4-8D81-3749-BE20-3BF96A96A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80182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2984C19-4423-0641-9766-7700A5AAB39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DCE4C6-F58A-BB49-9515-ECA3A27F56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FF6ACD-1484-4F4B-ACCF-1AE117615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2F76-B376-9445-97D2-6DAA9E628348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AE631-ED3B-3B47-A9FA-90FF98D70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D3D6A0-7631-4D4E-8AB8-D1F991D02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5431F-F661-0340-9D1A-FA0BDC09EC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28176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390024"/>
            <a:ext cx="8229600" cy="8246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 baseline="0">
                <a:solidFill>
                  <a:srgbClr val="1E1E1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Buy 2 Pay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6" y="4798696"/>
            <a:ext cx="6059488" cy="27432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rgbClr val="8996A0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3214654"/>
            <a:ext cx="8229600" cy="615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A51C3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Rectangle 4"/>
          <p:cNvSpPr/>
          <p:nvPr/>
        </p:nvSpPr>
        <p:spPr>
          <a:xfrm>
            <a:off x="1" y="6400800"/>
            <a:ext cx="9144000" cy="609600"/>
          </a:xfrm>
          <a:prstGeom prst="rect">
            <a:avLst/>
          </a:prstGeom>
          <a:solidFill>
            <a:srgbClr val="8C817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000291"/>
      </p:ext>
    </p:extLst>
  </p:cSld>
  <p:clrMapOvr>
    <a:masterClrMapping/>
  </p:clrMapOvr>
  <p:transition spd="slow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223636"/>
            <a:ext cx="9144000" cy="609600"/>
          </a:xfrm>
          <a:prstGeom prst="rect">
            <a:avLst/>
          </a:prstGeom>
          <a:solidFill>
            <a:srgbClr val="8C817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0"/>
          </p:nvPr>
        </p:nvSpPr>
        <p:spPr>
          <a:xfrm>
            <a:off x="955683" y="1130088"/>
            <a:ext cx="7700963" cy="5012056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3977656"/>
      </p:ext>
    </p:extLst>
  </p:cSld>
  <p:clrMapOvr>
    <a:masterClrMapping/>
  </p:clrMapOvr>
  <p:transition spd="slow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390024"/>
            <a:ext cx="8229600" cy="8246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 baseline="0">
                <a:solidFill>
                  <a:srgbClr val="1E1E1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Buy 2 Pay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6" y="4798696"/>
            <a:ext cx="6059488" cy="27432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rgbClr val="8996A0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3214654"/>
            <a:ext cx="8229600" cy="615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A51C3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" y="6400800"/>
            <a:ext cx="9144000" cy="609600"/>
          </a:xfrm>
          <a:prstGeom prst="rect">
            <a:avLst/>
          </a:prstGeom>
          <a:solidFill>
            <a:srgbClr val="8C817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5462227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30635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223636"/>
            <a:ext cx="9144000" cy="609600"/>
          </a:xfrm>
          <a:prstGeom prst="rect">
            <a:avLst/>
          </a:prstGeom>
          <a:solidFill>
            <a:srgbClr val="8C817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2390024"/>
            <a:ext cx="8229600" cy="8246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rgbClr val="1E1E1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6" y="4798696"/>
            <a:ext cx="6059488" cy="27432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rgbClr val="8996A0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200" y="3214654"/>
            <a:ext cx="8229600" cy="615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A51C3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837977"/>
      </p:ext>
    </p:extLst>
  </p:cSld>
  <p:clrMapOvr>
    <a:masterClrMapping/>
  </p:clrMapOvr>
  <p:transition spd="slow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83" y="1211580"/>
            <a:ext cx="7700963" cy="5012056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499252"/>
      </p:ext>
    </p:extLst>
  </p:cSld>
  <p:clrMapOvr>
    <a:masterClrMapping/>
  </p:clrMapOvr>
  <p:transition spd="slow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83" y="1211580"/>
            <a:ext cx="7700963" cy="5012056"/>
          </a:xfrm>
        </p:spPr>
        <p:txBody>
          <a:bodyPr/>
          <a:lstStyle>
            <a:lvl2pPr marL="0" indent="0">
              <a:buFont typeface="Arial"/>
              <a:buNone/>
              <a:defRPr baseline="0"/>
            </a:lvl2pPr>
            <a:lvl3pPr marL="344480" indent="0">
              <a:buNone/>
              <a:defRPr/>
            </a:lvl3pPr>
            <a:lvl4pPr marL="687370" indent="0">
              <a:buNone/>
              <a:defRPr/>
            </a:lvl4pPr>
            <a:lvl5pPr marL="103184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774590"/>
      </p:ext>
    </p:extLst>
  </p:cSld>
  <p:clrMapOvr>
    <a:masterClrMapping/>
  </p:clrMapOvr>
  <p:transition spd="slow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36" y="1211580"/>
            <a:ext cx="3787775" cy="50120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1211580"/>
            <a:ext cx="3779838" cy="50120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703314"/>
      </p:ext>
    </p:extLst>
  </p:cSld>
  <p:clrMapOvr>
    <a:masterClrMapping/>
  </p:clrMapOvr>
  <p:transition spd="slow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1211587"/>
            <a:ext cx="7707862" cy="24221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36" y="3788424"/>
            <a:ext cx="7707313" cy="24221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438367"/>
      </p:ext>
    </p:extLst>
  </p:cSld>
  <p:clrMapOvr>
    <a:masterClrMapping/>
  </p:clrMapOvr>
  <p:transition spd="slow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7" y="479390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36" y="1211580"/>
            <a:ext cx="3787775" cy="50120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1211583"/>
            <a:ext cx="3779838" cy="24307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3783330"/>
            <a:ext cx="3779838" cy="24403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459948"/>
      </p:ext>
    </p:extLst>
  </p:cSld>
  <p:clrMapOvr>
    <a:masterClrMapping/>
  </p:clrMapOvr>
  <p:transition spd="slow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7" y="479389"/>
            <a:ext cx="7707862" cy="650699"/>
          </a:xfrm>
          <a:prstGeom prst="rect">
            <a:avLst/>
          </a:prstGeom>
        </p:spPr>
        <p:txBody>
          <a:bodyPr/>
          <a:lstStyle>
            <a:lvl1pPr algn="l">
              <a:defRPr sz="2600">
                <a:solidFill>
                  <a:srgbClr val="A51C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8" y="1211582"/>
            <a:ext cx="3787775" cy="24307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8" y="3787484"/>
            <a:ext cx="3781425" cy="2436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1211582"/>
            <a:ext cx="3779838" cy="24307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3787484"/>
            <a:ext cx="3779838" cy="2436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3F3F1"/>
                </a:solidFill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280632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3962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0"/>
            <a:ext cx="411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62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621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03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4585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682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031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4467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573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rgbClr val="000000"/>
              </a:solidFill>
              <a:latin typeface="Helvetica" pitchFamily="34" charset="0"/>
              <a:cs typeface="Arial" charset="0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52400"/>
            <a:ext cx="15240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9153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78921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95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438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1533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0574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0081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4796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7618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00265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219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488" y="0"/>
            <a:ext cx="7696200" cy="1039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6825"/>
            <a:ext cx="8423275" cy="482917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70401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5609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9DBF8F-D6C6-4108-9B03-0E07E2F6CE4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067420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C36533-1B48-4FDC-83FE-10BE95ADBBE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39773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06CEEB-484D-4684-B81D-758CB21DEE8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738629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64680-FAF0-4C10-B4D1-5D36FC6031C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93720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4C7B4-FAEA-40DF-B01A-4E6B09E4E5B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570967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37036-06A6-44D0-8CCA-24147A72E35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312376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DCDB6-B401-43E5-A30C-A96619CE000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378201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DC1B9B-DA09-44BE-A333-3FEF20E9D3A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900009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AD2CC-7168-48C0-AE59-DFF17C322E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325698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AB77C2-3F84-4E6B-9B77-16E927FBB80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49044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cover-pag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>
            <a:off x="3352800" y="3124200"/>
            <a:ext cx="556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endParaRPr lang="en-US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43000" y="1752600"/>
            <a:ext cx="77724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3352800" y="3276600"/>
            <a:ext cx="5562600" cy="838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FontTx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553200"/>
            <a:ext cx="8534400" cy="1682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2365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2406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7128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2930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8044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7685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256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370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0058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325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1600200"/>
            <a:ext cx="2076450" cy="45259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7695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6398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6316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BCE2A8-F8B4-4F3F-8EB5-BC6825E4D24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50946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8E2905-34E9-4E60-B96B-B9192481F3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88304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80220-42C3-41C1-8530-41182E89BA6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62060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2F963-45FE-457D-93A2-AF2F3FAFB5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49359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C8B98-BF42-4AC0-BA9B-0D27BB2279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929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B4EBC-37B7-42C6-8D3B-802E3E6A0B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36983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8757C-FAAD-4FEE-B922-07F6E0437A2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67936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D5EDC-6B1D-42F8-8951-C197BB1DA3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2900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4152-B0D8-474E-8EB4-B05F24B929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19582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184E7-6409-4439-8FD3-15C31772FB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32940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C8647A-CF6F-49E2-BDE8-BDFD7312283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47429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A45550-4CEF-42EA-AEB4-46D1BE33595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7944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F192C-E889-440B-A187-05F183F8E8D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29672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1C79A-7D02-4445-A722-2706D6F2E0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18645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A8619A-0616-4DFD-8A1D-21384F14963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12905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41C91-7586-4E8E-9A5F-9D0BD7046E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99887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295501-0EB4-4559-B728-15336A8E7C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12911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F3C957-10A7-4161-B7C2-F76D4366B3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8917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6186C-BECB-4D9E-B574-D582F85DE34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27376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1B771-E6B9-4177-BC10-69D5E65CA4B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58138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57600" y="685800"/>
            <a:ext cx="1784350" cy="117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604890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0384D-5028-46EB-837D-55BF87D5E4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2413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94843-7390-4E37-9907-A00D28135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3439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C0E0A-1BB6-4683-BEBA-D57DBC346B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1778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9724E-6220-4046-BD01-045B940EF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1575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588488-312F-4D87-A510-7CDFD30859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7013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11F1E-B71E-4881-ADA1-586327B055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7824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71914-6480-4819-8985-A2A50CFB57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091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ags" Target="../tags/tag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87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13.xml"/><Relationship Id="rId16" Type="http://schemas.openxmlformats.org/officeDocument/2006/relationships/theme" Target="../theme/theme25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8.xml"/><Relationship Id="rId16" Type="http://schemas.openxmlformats.org/officeDocument/2006/relationships/theme" Target="../theme/theme26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image" Target="../media/image19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image" Target="../media/image19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image" Target="../media/image21.jpeg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theme" Target="../theme/theme30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tx1"/>
                </a:solidFill>
              </a:rPr>
              <a:t>Page </a:t>
            </a:r>
            <a:fld id="{F7131025-F4F3-4C16-9288-EFCEF0B8527C}" type="slidenum">
              <a:rPr lang="en-US" sz="1000" b="1">
                <a:solidFill>
                  <a:schemeClr val="tx1"/>
                </a:solidFill>
              </a:rPr>
              <a:pPr algn="l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grpSp>
        <p:nvGrpSpPr>
          <p:cNvPr id="4103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4104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105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" y="0"/>
            <a:ext cx="1257300" cy="110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 b="0" smtClean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26CC830E-3B72-4AE2-9C7F-A1861624784E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2109364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1" r:id="rId1"/>
    <p:sldLayoutId id="2147484352" r:id="rId2"/>
    <p:sldLayoutId id="2147484353" r:id="rId3"/>
    <p:sldLayoutId id="2147484354" r:id="rId4"/>
    <p:sldLayoutId id="2147484355" r:id="rId5"/>
    <p:sldLayoutId id="2147484356" r:id="rId6"/>
    <p:sldLayoutId id="2147484357" r:id="rId7"/>
    <p:sldLayoutId id="2147484358" r:id="rId8"/>
    <p:sldLayoutId id="2147484359" r:id="rId9"/>
    <p:sldLayoutId id="2147484360" r:id="rId10"/>
    <p:sldLayoutId id="2147484361" r:id="rId1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cover-page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18288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Master Slide Title Goes Her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77000"/>
            <a:ext cx="8382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1pPr>
          </a:lstStyle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1029" name="Line 8"/>
          <p:cNvSpPr>
            <a:spLocks noChangeShapeType="1"/>
          </p:cNvSpPr>
          <p:nvPr userDrawn="1"/>
        </p:nvSpPr>
        <p:spPr bwMode="auto">
          <a:xfrm>
            <a:off x="3733800" y="3124200"/>
            <a:ext cx="5029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102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6" r:id="rId6"/>
    <p:sldLayoutId id="2147484407" r:id="rId7"/>
    <p:sldLayoutId id="2147484408" r:id="rId8"/>
    <p:sldLayoutId id="2147484409" r:id="rId9"/>
    <p:sldLayoutId id="2147484410" r:id="rId10"/>
    <p:sldLayoutId id="214748441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+mj-lt"/>
          <a:ea typeface="ＭＳ Ｐゴシック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 b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1E08AE2A-C081-4B6D-8717-F555765EDAF8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645456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162800" y="6324600"/>
            <a:ext cx="18288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57716839-E7E2-4720-8FB4-043988CBAFCA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794378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1156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BF9413A4-73D8-4057-A2BC-F6D2E47755C8}" type="slidenum">
              <a:rPr lang="en-US">
                <a:latin typeface="Arial"/>
                <a:ea typeface="ＭＳ Ｐゴシック" pitchFamily="34" charset="-128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Arial"/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118842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  <p:sldLayoutId id="2147484473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6189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BF9413A4-73D8-4057-A2BC-F6D2E47755C8}" type="slidenum">
              <a:rPr lang="en-US">
                <a:latin typeface="Arial"/>
                <a:ea typeface="ＭＳ Ｐゴシック" pitchFamily="34" charset="-128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Arial"/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87089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5" r:id="rId1"/>
    <p:sldLayoutId id="2147484476" r:id="rId2"/>
    <p:sldLayoutId id="2147484477" r:id="rId3"/>
    <p:sldLayoutId id="2147484478" r:id="rId4"/>
    <p:sldLayoutId id="2147484479" r:id="rId5"/>
    <p:sldLayoutId id="2147484480" r:id="rId6"/>
    <p:sldLayoutId id="2147484481" r:id="rId7"/>
    <p:sldLayoutId id="2147484482" r:id="rId8"/>
    <p:sldLayoutId id="2147484483" r:id="rId9"/>
    <p:sldLayoutId id="2147484484" r:id="rId10"/>
    <p:sldLayoutId id="2147484485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498923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  <p:sldLayoutId id="2147484495" r:id="rId9"/>
    <p:sldLayoutId id="2147484496" r:id="rId10"/>
    <p:sldLayoutId id="2147484497" r:id="rId11"/>
    <p:sldLayoutId id="2147484498" r:id="rId12"/>
    <p:sldLayoutId id="2147484500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B5B79DF3-B533-48D0-AE80-5BC69117FD89}" type="slidenum">
              <a:rPr lang="en-US" smtClean="0"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88345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6" r:id="rId1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</a:pPr>
            <a:fld id="{18E5EF79-9A0F-42F1-A396-FE5EE2680A46}" type="slidenum">
              <a:rPr lang="en-US" altLang="en-US" smtClean="0">
                <a:latin typeface="Arial" pitchFamily="34" charset="0"/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</a:pPr>
              <a:t>‹#›</a:t>
            </a:fld>
            <a:endParaRPr lang="en-US" altLang="en-US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99932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  <p:sldLayoutId id="2147484602" r:id="rId12"/>
    <p:sldLayoutId id="2147484605" r:id="rId13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120000"/>
              </a:lnSpc>
              <a:spcBef>
                <a:spcPct val="50000"/>
              </a:spcBef>
            </a:pPr>
            <a:r>
              <a:rPr lang="en-US" altLang="en-US" sz="1000" b="1" dirty="0">
                <a:solidFill>
                  <a:srgbClr val="000000"/>
                </a:solidFill>
              </a:rPr>
              <a:t>Page </a:t>
            </a:r>
            <a:fld id="{C33C9615-B2E0-4EE2-89C9-E2F5B06F195C}" type="slidenum">
              <a:rPr lang="en-US" altLang="en-US" sz="1000" b="1" smtClean="0">
                <a:solidFill>
                  <a:srgbClr val="000000"/>
                </a:solidFill>
              </a:rPr>
              <a:pPr algn="l" eaLnBrk="1" hangingPunct="1">
                <a:lnSpc>
                  <a:spcPct val="120000"/>
                </a:lnSpc>
                <a:spcBef>
                  <a:spcPct val="50000"/>
                </a:spcBef>
              </a:pPr>
              <a:t>‹#›</a:t>
            </a:fld>
            <a:endParaRPr lang="en-US" altLang="en-US" sz="1000" b="1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pic>
        <p:nvPicPr>
          <p:cNvPr id="1030" name="Picture 6" descr="Harvard-Seal-Nic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0"/>
            <a:ext cx="1109663" cy="1033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016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8" r:id="rId1"/>
    <p:sldLayoutId id="2147484759" r:id="rId2"/>
    <p:sldLayoutId id="2147484760" r:id="rId3"/>
    <p:sldLayoutId id="2147484761" r:id="rId4"/>
    <p:sldLayoutId id="2147484762" r:id="rId5"/>
    <p:sldLayoutId id="2147484763" r:id="rId6"/>
    <p:sldLayoutId id="2147484764" r:id="rId7"/>
    <p:sldLayoutId id="2147484765" r:id="rId8"/>
    <p:sldLayoutId id="2147484766" r:id="rId9"/>
    <p:sldLayoutId id="2147484767" r:id="rId10"/>
    <p:sldLayoutId id="2147484768" r:id="rId11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ＭＳ Ｐゴシック" charset="0"/>
          <a:cs typeface="ＭＳ Ｐゴシック" charset="0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7CCE96AD-6D62-4778-A08A-2B70773AD9F0}" type="slidenum">
              <a:rPr lang="en-US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5pPr>
      <a:lvl6pPr marL="4572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–"/>
        <a:defRPr>
          <a:solidFill>
            <a:srgbClr val="4D4D4D"/>
          </a:solidFill>
          <a:latin typeface="+mn-lt"/>
          <a:ea typeface="+mn-ea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•"/>
        <a:defRPr sz="1600">
          <a:solidFill>
            <a:srgbClr val="4D4D4D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en-US" sz="1000" b="1" dirty="0">
                <a:solidFill>
                  <a:srgbClr val="000000"/>
                </a:solidFill>
              </a:rPr>
              <a:t>Page </a:t>
            </a:r>
            <a:fld id="{1B13A5C1-8EC2-4975-B785-461777C0EECE}" type="slidenum">
              <a:rPr lang="en-US" altLang="en-US" sz="1000" b="1" smtClean="0">
                <a:solidFill>
                  <a:srgbClr val="000000"/>
                </a:solidFill>
              </a:rPr>
              <a:pPr algn="l" eaLnBrk="1" hangingPunct="1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altLang="en-US" sz="1000" b="1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fr-FR" altLang="en-US" sz="2400" dirty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pic>
        <p:nvPicPr>
          <p:cNvPr id="1030" name="Picture 6" descr="Harvard-Seal-Nic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0"/>
            <a:ext cx="1109663" cy="1033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1pPr>
              <a:lvl2pPr marL="742950" indent="-28575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2pPr>
              <a:lvl3pPr marL="11430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3pPr>
              <a:lvl4pPr marL="16002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endParaRPr lang="en-US" altLang="en-US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1pPr>
              <a:lvl2pPr marL="742950" indent="-28575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2pPr>
              <a:lvl3pPr marL="11430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3pPr>
              <a:lvl4pPr marL="16002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endParaRPr lang="en-US" altLang="en-US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24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1" r:id="rId1"/>
    <p:sldLayoutId id="2147484882" r:id="rId2"/>
    <p:sldLayoutId id="2147484883" r:id="rId3"/>
    <p:sldLayoutId id="2147484884" r:id="rId4"/>
    <p:sldLayoutId id="2147484885" r:id="rId5"/>
    <p:sldLayoutId id="2147484886" r:id="rId6"/>
    <p:sldLayoutId id="2147484887" r:id="rId7"/>
    <p:sldLayoutId id="2147484888" r:id="rId8"/>
    <p:sldLayoutId id="2147484889" r:id="rId9"/>
    <p:sldLayoutId id="2147484890" r:id="rId10"/>
    <p:sldLayoutId id="2147484891" r:id="rId11"/>
  </p:sldLayoutIdLst>
  <p:hf sldNum="0" hdr="0" ftr="0" dt="0"/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ＭＳ Ｐゴシック" charset="0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3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600" b="0">
                <a:solidFill>
                  <a:srgbClr val="B2B2B2"/>
                </a:solidFill>
                <a:cs typeface="+mn-cs"/>
              </a:defRPr>
            </a:lvl1pPr>
          </a:lstStyle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622A033-4814-4293-89F3-E1059E8A7047}" type="slidenum">
              <a:rPr lang="en-US" smtClean="0">
                <a:latin typeface="Arial"/>
                <a:ea typeface="ＭＳ Ｐゴシック" charset="0"/>
              </a:rPr>
              <a:pPr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Arial"/>
              <a:ea typeface="ＭＳ Ｐゴシック" charset="0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3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618366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5" r:id="rId1"/>
    <p:sldLayoutId id="2147484996" r:id="rId2"/>
    <p:sldLayoutId id="2147484997" r:id="rId3"/>
    <p:sldLayoutId id="2147484998" r:id="rId4"/>
    <p:sldLayoutId id="2147484999" r:id="rId5"/>
    <p:sldLayoutId id="2147485000" r:id="rId6"/>
    <p:sldLayoutId id="2147485001" r:id="rId7"/>
    <p:sldLayoutId id="2147485002" r:id="rId8"/>
    <p:sldLayoutId id="2147485003" r:id="rId9"/>
    <p:sldLayoutId id="2147485004" r:id="rId10"/>
    <p:sldLayoutId id="2147485005" r:id="rId11"/>
    <p:sldLayoutId id="2147485006" r:id="rId12"/>
    <p:sldLayoutId id="2147485009" r:id="rId13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171450" indent="-171450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–"/>
        <a:defRPr sz="1050">
          <a:solidFill>
            <a:schemeClr val="tx1"/>
          </a:solidFill>
          <a:latin typeface="+mn-lt"/>
          <a:cs typeface="+mn-cs"/>
        </a:defRPr>
      </a:lvl2pPr>
      <a:lvl3pPr marL="815579" indent="-129779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•"/>
        <a:defRPr sz="750">
          <a:solidFill>
            <a:schemeClr val="tx1"/>
          </a:solidFill>
          <a:latin typeface="+mn-lt"/>
          <a:cs typeface="+mn-cs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>
          <a:solidFill>
            <a:srgbClr val="595959"/>
          </a:solidFill>
          <a:latin typeface="+mn-lt"/>
          <a:cs typeface="+mn-cs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5pPr>
      <a:lvl6pPr marL="18859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6pPr>
      <a:lvl7pPr marL="22288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7pPr>
      <a:lvl8pPr marL="25717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8pPr>
      <a:lvl9pPr marL="29146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Left-Justified Slide Headline Here in Arial 30pts Can Be Up to Two Lines of Text, No Line Be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713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First level bullets in 24pts</a:t>
            </a:r>
          </a:p>
          <a:p>
            <a:pPr lvl="1"/>
            <a:r>
              <a:rPr lang="en-US" dirty="0"/>
              <a:t>Second level bullets in 22pts</a:t>
            </a:r>
          </a:p>
          <a:p>
            <a:pPr lvl="2"/>
            <a:r>
              <a:rPr lang="en-US" dirty="0"/>
              <a:t>Third level bullets in 20pts</a:t>
            </a:r>
          </a:p>
          <a:p>
            <a:pPr lvl="3"/>
            <a:r>
              <a:rPr lang="en-US" dirty="0"/>
              <a:t>Next level bullets in 18pts</a:t>
            </a:r>
          </a:p>
          <a:p>
            <a:pPr lvl="4"/>
            <a:r>
              <a:rPr lang="en-US" dirty="0"/>
              <a:t>Final level bullets in 16pt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05970" y="648568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E8D627C0-5AFE-D340-B395-D0D9CF656753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96178" y="64824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1FF2EB2-6F07-4C04-8542-4881015B779E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1/30/2018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54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1" r:id="rId1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25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–"/>
        <a:defRPr sz="1650" kern="1200">
          <a:solidFill>
            <a:schemeClr val="tx1"/>
          </a:solidFill>
          <a:latin typeface="Arial"/>
          <a:ea typeface="+mn-ea"/>
          <a:cs typeface="Arial"/>
        </a:defRPr>
      </a:lvl2pPr>
      <a:lvl3pPr marL="8572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500" kern="1200" baseline="0">
          <a:solidFill>
            <a:schemeClr val="tx1"/>
          </a:solidFill>
          <a:latin typeface="Arial"/>
          <a:ea typeface="+mn-ea"/>
          <a:cs typeface="Arial"/>
        </a:defRPr>
      </a:lvl3pPr>
      <a:lvl4pPr marL="12001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–"/>
        <a:defRPr sz="1350" kern="1200">
          <a:solidFill>
            <a:schemeClr val="tx1"/>
          </a:solidFill>
          <a:latin typeface="Arial"/>
          <a:ea typeface="+mn-ea"/>
          <a:cs typeface="Arial"/>
        </a:defRPr>
      </a:lvl4pPr>
      <a:lvl5pPr marL="15430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428789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3" r:id="rId1"/>
    <p:sldLayoutId id="2147485034" r:id="rId2"/>
    <p:sldLayoutId id="2147485035" r:id="rId3"/>
    <p:sldLayoutId id="2147485036" r:id="rId4"/>
    <p:sldLayoutId id="2147485037" r:id="rId5"/>
    <p:sldLayoutId id="2147485038" r:id="rId6"/>
    <p:sldLayoutId id="2147485039" r:id="rId7"/>
    <p:sldLayoutId id="2147485040" r:id="rId8"/>
    <p:sldLayoutId id="2147485041" r:id="rId9"/>
    <p:sldLayoutId id="2147485042" r:id="rId10"/>
    <p:sldLayoutId id="2147485043" r:id="rId11"/>
    <p:sldLayoutId id="2147485044" r:id="rId12"/>
    <p:sldLayoutId id="2147485046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800" b="0">
                <a:solidFill>
                  <a:srgbClr val="B2B2B2"/>
                </a:solidFill>
              </a:defRPr>
            </a:lvl1pPr>
          </a:lstStyle>
          <a:p>
            <a:pPr defTabSz="457200">
              <a:defRPr/>
            </a:pPr>
            <a:fld id="{78084121-7B00-4887-816E-30CF551B9527}" type="slidenum">
              <a:rPr lang="en-US" altLang="en-US"/>
              <a:pPr defTabSz="457200"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378945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1" r:id="rId1"/>
    <p:sldLayoutId id="2147485072" r:id="rId2"/>
    <p:sldLayoutId id="2147485073" r:id="rId3"/>
    <p:sldLayoutId id="2147485074" r:id="rId4"/>
    <p:sldLayoutId id="2147485075" r:id="rId5"/>
    <p:sldLayoutId id="2147485076" r:id="rId6"/>
    <p:sldLayoutId id="2147485077" r:id="rId7"/>
    <p:sldLayoutId id="2147485078" r:id="rId8"/>
    <p:sldLayoutId id="2147485079" r:id="rId9"/>
    <p:sldLayoutId id="2147485080" r:id="rId10"/>
    <p:sldLayoutId id="2147485081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•"/>
        <a:defRPr sz="2000"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–"/>
        <a:defRPr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•"/>
        <a:defRPr sz="1600"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rgbClr val="595959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rgbClr val="595959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29883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3" r:id="rId1"/>
    <p:sldLayoutId id="2147485084" r:id="rId2"/>
    <p:sldLayoutId id="2147485085" r:id="rId3"/>
    <p:sldLayoutId id="2147485086" r:id="rId4"/>
    <p:sldLayoutId id="2147485087" r:id="rId5"/>
    <p:sldLayoutId id="2147485088" r:id="rId6"/>
    <p:sldLayoutId id="2147485089" r:id="rId7"/>
    <p:sldLayoutId id="2147485090" r:id="rId8"/>
    <p:sldLayoutId id="2147485091" r:id="rId9"/>
    <p:sldLayoutId id="2147485092" r:id="rId10"/>
    <p:sldLayoutId id="2147485093" r:id="rId11"/>
    <p:sldLayoutId id="2147485094" r:id="rId12"/>
    <p:sldLayoutId id="2147485095" r:id="rId13"/>
    <p:sldLayoutId id="2147485096" r:id="rId14"/>
    <p:sldLayoutId id="2147485097" r:id="rId15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41643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9" r:id="rId1"/>
    <p:sldLayoutId id="2147485100" r:id="rId2"/>
    <p:sldLayoutId id="2147485101" r:id="rId3"/>
    <p:sldLayoutId id="2147485102" r:id="rId4"/>
    <p:sldLayoutId id="2147485103" r:id="rId5"/>
    <p:sldLayoutId id="2147485104" r:id="rId6"/>
    <p:sldLayoutId id="2147485105" r:id="rId7"/>
    <p:sldLayoutId id="2147485106" r:id="rId8"/>
    <p:sldLayoutId id="2147485107" r:id="rId9"/>
    <p:sldLayoutId id="2147485108" r:id="rId10"/>
    <p:sldLayoutId id="2147485109" r:id="rId11"/>
    <p:sldLayoutId id="2147485110" r:id="rId12"/>
    <p:sldLayoutId id="2147485111" r:id="rId13"/>
    <p:sldLayoutId id="2147485112" r:id="rId14"/>
    <p:sldLayoutId id="2147485113" r:id="rId15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024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5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00064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85776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-9237" y="5787740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Veritas Crimson Shiel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87824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8" r:id="rId1"/>
    <p:sldLayoutId id="2147485129" r:id="rId2"/>
    <p:sldLayoutId id="2147485130" r:id="rId3"/>
    <p:sldLayoutId id="2147485131" r:id="rId4"/>
    <p:sldLayoutId id="2147485132" r:id="rId5"/>
    <p:sldLayoutId id="2147485133" r:id="rId6"/>
    <p:sldLayoutId id="2147485134" r:id="rId7"/>
    <p:sldLayoutId id="2147485135" r:id="rId8"/>
    <p:sldLayoutId id="2147485136" r:id="rId9"/>
    <p:sldLayoutId id="2147485137" r:id="rId10"/>
    <p:sldLayoutId id="2147485138" r:id="rId11"/>
    <p:sldLayoutId id="2147485139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024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5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00064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85776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-9237" y="5787740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Veritas Crimson Shiel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3983159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1" r:id="rId1"/>
    <p:sldLayoutId id="2147485142" r:id="rId2"/>
    <p:sldLayoutId id="2147485143" r:id="rId3"/>
    <p:sldLayoutId id="2147485144" r:id="rId4"/>
    <p:sldLayoutId id="2147485145" r:id="rId5"/>
    <p:sldLayoutId id="2147485146" r:id="rId6"/>
    <p:sldLayoutId id="2147485147" r:id="rId7"/>
    <p:sldLayoutId id="2147485148" r:id="rId8"/>
    <p:sldLayoutId id="2147485149" r:id="rId9"/>
    <p:sldLayoutId id="2147485150" r:id="rId10"/>
    <p:sldLayoutId id="2147485151" r:id="rId11"/>
    <p:sldLayoutId id="2147485152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6F57C8-EB28-5D4D-BD09-6D4B07EE0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3EA636-D2B5-954D-8D0D-209A8F70C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A4A754-46A5-A64E-BCFE-CF67253404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152F76-B376-9445-97D2-6DAA9E628348}" type="datetimeFigureOut">
              <a:rPr lang="en-US" smtClean="0"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50F837-9D76-D146-A8FD-691BE2AC4A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EA8FE-EC93-3947-B1EE-24ADEE6B2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B5431F-F661-0340-9D1A-FA0BDC09EC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975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2"/>
          <p:cNvSpPr>
            <a:spLocks noGrp="1"/>
          </p:cNvSpPr>
          <p:nvPr>
            <p:ph type="title"/>
          </p:nvPr>
        </p:nvSpPr>
        <p:spPr bwMode="auto">
          <a:xfrm>
            <a:off x="949326" y="478368"/>
            <a:ext cx="7707313" cy="651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49326" y="1204384"/>
            <a:ext cx="7707313" cy="501861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457200" cy="6866467"/>
          </a:xfrm>
          <a:prstGeom prst="rect">
            <a:avLst/>
          </a:prstGeom>
          <a:solidFill>
            <a:srgbClr val="8C81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Arial"/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9539" y="6415619"/>
            <a:ext cx="846137" cy="3619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3F3F1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10FB95BA-D6E0-A141-92DE-F8E3C1FBF9A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142" y="6244169"/>
            <a:ext cx="1645920" cy="61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6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ransition spd="slow">
    <p:fade/>
  </p:transition>
  <p:hf hdr="0" ftr="0" dt="0"/>
  <p:txStyles>
    <p:titleStyle>
      <a:lvl1pPr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600" kern="1200">
          <a:solidFill>
            <a:srgbClr val="A51C30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  <a:lvl2pPr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5pPr>
      <a:lvl6pPr marL="457189"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6pPr>
      <a:lvl7pPr marL="914378"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7pPr>
      <a:lvl8pPr marL="1371566"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8pPr>
      <a:lvl9pPr marL="1828754" algn="l" defTabSz="457189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9pPr>
    </p:titleStyle>
    <p:bodyStyle>
      <a:lvl1pPr marL="342892" indent="-342892" algn="l" defTabSz="457189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charset="0"/>
        <a:defRPr kern="1200" cap="small" spc="20" baseline="0">
          <a:solidFill>
            <a:srgbClr val="1E1E1E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  <a:lvl2pPr marL="288918" indent="-288918" algn="l" defTabSz="457189" rtl="0" eaLnBrk="1" fontAlgn="base" hangingPunct="1">
        <a:spcBef>
          <a:spcPct val="20000"/>
        </a:spcBef>
        <a:spcAft>
          <a:spcPct val="0"/>
        </a:spcAft>
        <a:buClr>
          <a:srgbClr val="1E1E1E"/>
        </a:buClr>
        <a:buFont typeface="Wingdings" charset="0"/>
        <a:buChar char="§"/>
        <a:defRPr kern="1200">
          <a:solidFill>
            <a:srgbClr val="1E1E1E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marL="569899" indent="-225419" algn="l" defTabSz="457189" rtl="0" eaLnBrk="1" fontAlgn="base" hangingPunct="1">
        <a:spcBef>
          <a:spcPct val="20000"/>
        </a:spcBef>
        <a:spcAft>
          <a:spcPct val="0"/>
        </a:spcAft>
        <a:buClr>
          <a:srgbClr val="1E1E1E"/>
        </a:buClr>
        <a:buSzPct val="102000"/>
        <a:buFont typeface="Arial" panose="020B0604020202020204" pitchFamily="34" charset="0"/>
        <a:buChar char="•"/>
        <a:defRPr kern="1200">
          <a:solidFill>
            <a:srgbClr val="1E1E1E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marL="914378" indent="-227007" algn="l" defTabSz="457189" rtl="0" eaLnBrk="1" fontAlgn="base" hangingPunct="1">
        <a:spcBef>
          <a:spcPct val="20000"/>
        </a:spcBef>
        <a:spcAft>
          <a:spcPct val="0"/>
        </a:spcAft>
        <a:buClr>
          <a:srgbClr val="1E1E1E"/>
        </a:buClr>
        <a:buFont typeface="Arial" panose="020B0604020202020204" pitchFamily="34" charset="0"/>
        <a:buChar char="‒"/>
        <a:defRPr kern="1200">
          <a:solidFill>
            <a:srgbClr val="1E1E1E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marL="1258856" indent="-227007" algn="l" defTabSz="457189" rtl="0" eaLnBrk="1" fontAlgn="base" hangingPunct="1">
        <a:spcBef>
          <a:spcPct val="20000"/>
        </a:spcBef>
        <a:spcAft>
          <a:spcPct val="0"/>
        </a:spcAft>
        <a:buClr>
          <a:srgbClr val="1E1E1E"/>
        </a:buClr>
        <a:buFont typeface="Source Sans Pro" charset="0"/>
        <a:buChar char="–"/>
        <a:defRPr kern="1200">
          <a:solidFill>
            <a:srgbClr val="1E1E1E"/>
          </a:solidFill>
          <a:latin typeface="Arial"/>
          <a:ea typeface="ＭＳ Ｐゴシック" charset="0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26010A19-A46F-450B-94AE-CC3F44164F29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1030" name="Picture 5" descr="FAD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AD3E4CF7-2030-4981-ABBB-15D725A04779}" type="slidenum">
              <a:rPr lang="en-US" smtClean="0">
                <a:latin typeface="Constantia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Constantia"/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2054" name="Picture 5" descr="FAD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7" descr="darkergradien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hank you.</a:t>
            </a:r>
          </a:p>
        </p:txBody>
      </p:sp>
      <p:pic>
        <p:nvPicPr>
          <p:cNvPr id="4" name="Picture 3" descr="HUIT_ppt-leftaligned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6172200"/>
            <a:ext cx="2438400" cy="49129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26010A19-A46F-450B-94AE-CC3F44164F29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1030" name="Picture 5" descr="FAD_logo.png"/>
          <p:cNvPicPr>
            <a:picLocks noChangeAspect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126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225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age </a:t>
            </a:r>
            <a:fld id="{F7131025-F4F3-4C16-9288-EFCEF0B8527C}" type="slidenum">
              <a:rPr lang="en-US" sz="1000" b="1">
                <a:solidFill>
                  <a:srgbClr val="000000"/>
                </a:solidFill>
              </a:rPr>
              <a:pPr algn="l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4103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4104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105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" y="0"/>
            <a:ext cx="1257300" cy="110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1589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6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71.xml"/><Relationship Id="rId4" Type="http://schemas.openxmlformats.org/officeDocument/2006/relationships/hyperlink" Target="http://library.harvard.edu/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7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6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6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26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4.tiff"/><Relationship Id="rId1" Type="http://schemas.openxmlformats.org/officeDocument/2006/relationships/slideLayout" Target="../slideLayouts/slideLayout2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7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8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8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8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harvard.edu/confluence/pages/viewpage.action?pageId=227879721" TargetMode="External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8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trainingportal.harvard.edu/Saba/Web_spf/NA1PRD0068/common/leclassview/class000000000014689" TargetMode="External"/><Relationship Id="rId3" Type="http://schemas.openxmlformats.org/officeDocument/2006/relationships/hyperlink" Target="https://trainingportal.harvard.edu/Saba/Web_spf/NA1PRD0068/common/ledetail/cours000000000014401" TargetMode="External"/><Relationship Id="rId7" Type="http://schemas.openxmlformats.org/officeDocument/2006/relationships/hyperlink" Target="https://trainingportal.harvard.edu/Saba/Web_spf/NA1PRD0068/common/leclassdetail/regdw000000000351458?context=user&amp;learnerId=emplo000000000072081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3.xml"/><Relationship Id="rId6" Type="http://schemas.openxmlformats.org/officeDocument/2006/relationships/hyperlink" Target="https://trainingportal.harvard.edu/Saba/Web_spf/NA1PRD0068/common/leclassview/class-00033164" TargetMode="External"/><Relationship Id="rId5" Type="http://schemas.openxmlformats.org/officeDocument/2006/relationships/hyperlink" Target="https://trainingportal.harvard.edu/Saba/Web_spf/NA1PRD0068/common/leclassview/class000000000019867" TargetMode="External"/><Relationship Id="rId4" Type="http://schemas.openxmlformats.org/officeDocument/2006/relationships/hyperlink" Target="https://trainingportal.harvard.edu/Saba/Web_spf/NA1PRD0068/common/leclassview/class000000000019866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981E32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E6F4619-C0EA-43AB-8597-B5AACAED2A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500375"/>
            <a:ext cx="5738813" cy="5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062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A8FBF9-7D82-2943-96E0-BCDEE119EA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842" b="6158"/>
          <a:stretch/>
        </p:blipFill>
        <p:spPr>
          <a:xfrm>
            <a:off x="15" y="857257"/>
            <a:ext cx="9143985" cy="5143493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5616466" y="2565460"/>
            <a:ext cx="3527534" cy="3435290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  <a:extLst/>
        </p:spPr>
        <p:txBody>
          <a:bodyPr vert="horz" lIns="68580" tIns="34290" rIns="68580" bIns="34290" rtlCol="0" anchor="t">
            <a:norm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prstClr val="black"/>
              </a:buClr>
              <a:buSzPct val="100000"/>
            </a:pPr>
            <a:endParaRPr lang="en-US" sz="1200" cap="all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C488A8-989E-F84F-BDBA-E390155493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6516" y="3281198"/>
            <a:ext cx="2889031" cy="1375542"/>
          </a:xfrm>
        </p:spPr>
        <p:txBody>
          <a:bodyPr>
            <a:normAutofit/>
          </a:bodyPr>
          <a:lstStyle/>
          <a:p>
            <a:r>
              <a:rPr lang="en-US" sz="3000" dirty="0"/>
              <a:t>Compas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11730E-D74F-DA42-A986-DFCA2DFE15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7182" y="4789256"/>
            <a:ext cx="3247697" cy="512463"/>
          </a:xfrm>
        </p:spPr>
        <p:txBody>
          <a:bodyPr>
            <a:normAutofit fontScale="92500" lnSpcReduction="20000"/>
          </a:bodyPr>
          <a:lstStyle/>
          <a:p>
            <a:r>
              <a:rPr lang="en-US" sz="1500" dirty="0"/>
              <a:t>A student’s guide to Houghton Library</a:t>
            </a:r>
          </a:p>
          <a:p>
            <a:r>
              <a:rPr lang="en-US" sz="1500" dirty="0"/>
              <a:t>http://houghtoncompass.org/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110248" y="4700095"/>
            <a:ext cx="701565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158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page1image1802048">
            <a:extLst>
              <a:ext uri="{FF2B5EF4-FFF2-40B4-BE49-F238E27FC236}">
                <a16:creationId xmlns:a16="http://schemas.microsoft.com/office/drawing/2014/main" id="{F59CF02A-66D7-CA4A-A6FA-3DFEE117C1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25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page1image1825344">
            <a:extLst>
              <a:ext uri="{FF2B5EF4-FFF2-40B4-BE49-F238E27FC236}">
                <a16:creationId xmlns:a16="http://schemas.microsoft.com/office/drawing/2014/main" id="{BED23205-4915-EE48-86D8-961567BBE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250"/>
            <a:ext cx="91440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" name="Picture 1" descr="page1image1825344">
            <a:extLst>
              <a:ext uri="{FF2B5EF4-FFF2-40B4-BE49-F238E27FC236}">
                <a16:creationId xmlns:a16="http://schemas.microsoft.com/office/drawing/2014/main" id="{92CED0B3-AAE8-6747-B21F-0EB16DAC4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0145"/>
            <a:ext cx="91440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E50A34E-F305-B648-865E-9F969CD2C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822963"/>
            <a:ext cx="9143999" cy="751181"/>
          </a:xfrm>
          <a:gradFill flip="none" rotWithShape="1">
            <a:gsLst>
              <a:gs pos="0">
                <a:schemeClr val="accent6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6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6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>
            <a:normAutofit/>
          </a:bodyPr>
          <a:lstStyle/>
          <a:p>
            <a:pPr algn="ctr"/>
            <a:r>
              <a:rPr lang="en-US" dirty="0">
                <a:hlinkClick r:id="rId4"/>
              </a:rPr>
              <a:t>http://library.Harvard.edu</a:t>
            </a:r>
            <a:r>
              <a:rPr lang="en-US" dirty="0"/>
              <a:t> – New Library Website</a:t>
            </a:r>
          </a:p>
        </p:txBody>
      </p:sp>
    </p:spTree>
    <p:extLst>
      <p:ext uri="{BB962C8B-B14F-4D97-AF65-F5344CB8AC3E}">
        <p14:creationId xmlns:p14="http://schemas.microsoft.com/office/powerpoint/2010/main" val="1237091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1" descr="page6image896192">
            <a:extLst>
              <a:ext uri="{FF2B5EF4-FFF2-40B4-BE49-F238E27FC236}">
                <a16:creationId xmlns:a16="http://schemas.microsoft.com/office/drawing/2014/main" id="{D72CA83D-F4DD-3746-8F8B-BC54FB9498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8" r="3803"/>
          <a:stretch/>
        </p:blipFill>
        <p:spPr bwMode="auto">
          <a:xfrm>
            <a:off x="15" y="857257"/>
            <a:ext cx="9143985" cy="514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97CDB3-55D7-3349-8AEA-3332C21AA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31094"/>
            <a:ext cx="2859985" cy="4596330"/>
          </a:xfrm>
        </p:spPr>
        <p:txBody>
          <a:bodyPr/>
          <a:lstStyle/>
          <a:p>
            <a:r>
              <a:rPr lang="en-US" dirty="0"/>
              <a:t>FAS </a:t>
            </a:r>
            <a:br>
              <a:rPr lang="en-US" dirty="0"/>
            </a:br>
            <a:r>
              <a:rPr lang="en-US" dirty="0"/>
              <a:t>Liaison Librarians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– find yours!</a:t>
            </a:r>
          </a:p>
        </p:txBody>
      </p:sp>
    </p:spTree>
    <p:extLst>
      <p:ext uri="{BB962C8B-B14F-4D97-AF65-F5344CB8AC3E}">
        <p14:creationId xmlns:p14="http://schemas.microsoft.com/office/powerpoint/2010/main" val="1513957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23AC064-BC96-4F32-8AE1-B2FD387548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283551" y="1114865"/>
            <a:ext cx="8579095" cy="1383192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A04581-D74B-4A41-99E5-64ADDC230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555" y="1207184"/>
            <a:ext cx="8354891" cy="697835"/>
          </a:xfrm>
        </p:spPr>
        <p:txBody>
          <a:bodyPr vert="horz" lIns="68580" tIns="34290" rIns="68580" bIns="34290" rtlCol="0" anchor="b">
            <a:normAutofit/>
          </a:bodyPr>
          <a:lstStyle/>
          <a:p>
            <a:pPr algn="ctr"/>
            <a:r>
              <a:rPr lang="en-US" sz="4050" dirty="0">
                <a:solidFill>
                  <a:srgbClr val="FFFFFF"/>
                </a:solidFill>
              </a:rPr>
              <a:t>Senior Thesis Suppor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E7C77BC-7138-40B1-A15B-20F57A4946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657350" y="1943723"/>
            <a:ext cx="58293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7A45887-BF69-044D-A909-C43F6DF5E6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74586" y="2739684"/>
            <a:ext cx="6553503" cy="299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3EE7CA8-83F0-F343-A407-FE3E8FDEDE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/>
          <a:stretch/>
        </p:blipFill>
        <p:spPr>
          <a:xfrm>
            <a:off x="15" y="857250"/>
            <a:ext cx="9143985" cy="51434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47357"/>
            <a:ext cx="9144000" cy="552413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00786-FD21-EB4D-8E45-FD9A1F0EF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07" y="4845180"/>
            <a:ext cx="8408194" cy="558627"/>
          </a:xfrm>
        </p:spPr>
        <p:txBody>
          <a:bodyPr vert="horz" lIns="68580" tIns="34290" rIns="68580" bIns="34290" rtlCol="0" anchor="ctr">
            <a:norm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irst Year Librarian Pilot 2018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4788737"/>
            <a:ext cx="9144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458389"/>
            <a:ext cx="9144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9249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1217295"/>
            <a:ext cx="8428482" cy="44234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D91F1DF-40EC-E347-B1BB-88012014C4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2600" y="1305370"/>
            <a:ext cx="8178800" cy="33328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8D7A95-4118-924F-B86E-2EFE2D139037}"/>
              </a:ext>
            </a:extLst>
          </p:cNvPr>
          <p:cNvSpPr txBox="1"/>
          <p:nvPr/>
        </p:nvSpPr>
        <p:spPr>
          <a:xfrm>
            <a:off x="2080260" y="4892041"/>
            <a:ext cx="56838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00" dirty="0">
                <a:solidFill>
                  <a:srgbClr val="4472C4">
                    <a:lumMod val="75000"/>
                  </a:srgbClr>
                </a:solidFill>
                <a:latin typeface="Calibri" panose="020F0502020204030204"/>
              </a:rPr>
              <a:t>http://tinyurl.com/hlpartners</a:t>
            </a:r>
          </a:p>
        </p:txBody>
      </p:sp>
    </p:spTree>
    <p:extLst>
      <p:ext uri="{BB962C8B-B14F-4D97-AF65-F5344CB8AC3E}">
        <p14:creationId xmlns:p14="http://schemas.microsoft.com/office/powerpoint/2010/main" val="17652937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5A9DE4-F95A-DF47-B638-6525576DB4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05940"/>
            <a:ext cx="9144000" cy="419481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5616466" y="2565460"/>
            <a:ext cx="3527534" cy="3435290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  <a:extLst/>
        </p:spPr>
        <p:txBody>
          <a:bodyPr vert="horz" lIns="68580" tIns="34290" rIns="68580" bIns="34290" rtlCol="0" anchor="t">
            <a:norm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prstClr val="black"/>
              </a:buClr>
              <a:buSzPct val="100000"/>
            </a:pPr>
            <a:endParaRPr lang="en-US" sz="1200" cap="all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CB235B-F2CF-7A41-ACD7-27714367AB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6516" y="3281198"/>
            <a:ext cx="2889031" cy="1375542"/>
          </a:xfrm>
        </p:spPr>
        <p:txBody>
          <a:bodyPr>
            <a:normAutofit/>
          </a:bodyPr>
          <a:lstStyle/>
          <a:p>
            <a:r>
              <a:rPr lang="en-US" sz="3000" dirty="0"/>
              <a:t>Collect all </a:t>
            </a:r>
            <a:br>
              <a:rPr lang="en-US" sz="3000" dirty="0"/>
            </a:br>
            <a:r>
              <a:rPr lang="en-US" sz="3000" dirty="0"/>
              <a:t>22 stickers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03923E-0C85-5146-B1F3-D80C3586BF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7182" y="4789256"/>
            <a:ext cx="3247697" cy="512463"/>
          </a:xfrm>
        </p:spPr>
        <p:txBody>
          <a:bodyPr>
            <a:normAutofit fontScale="92500" lnSpcReduction="20000"/>
          </a:bodyPr>
          <a:lstStyle/>
          <a:p>
            <a:r>
              <a:rPr lang="en-US" sz="1500" dirty="0"/>
              <a:t>Harvard Library Passport</a:t>
            </a:r>
          </a:p>
          <a:p>
            <a:r>
              <a:rPr lang="en-US" sz="1500" dirty="0"/>
              <a:t>Created by the Peer Research Fellow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110248" y="4700095"/>
            <a:ext cx="701565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815183B-8C29-9A44-B12F-2AF05125F678}"/>
              </a:ext>
            </a:extLst>
          </p:cNvPr>
          <p:cNvSpPr txBox="1"/>
          <p:nvPr/>
        </p:nvSpPr>
        <p:spPr>
          <a:xfrm>
            <a:off x="152069" y="972544"/>
            <a:ext cx="2581193" cy="71558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50" dirty="0">
                <a:solidFill>
                  <a:prstClr val="black"/>
                </a:solidFill>
                <a:latin typeface="Calibri" panose="020F0502020204030204"/>
              </a:rPr>
              <a:t>“Let me know where my worn-down coffee-stained passport can be verified by a librarian.”</a:t>
            </a:r>
          </a:p>
        </p:txBody>
      </p:sp>
    </p:spTree>
    <p:extLst>
      <p:ext uri="{BB962C8B-B14F-4D97-AF65-F5344CB8AC3E}">
        <p14:creationId xmlns:p14="http://schemas.microsoft.com/office/powerpoint/2010/main" val="12219395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B45A142-4255-493C-8284-5D566C121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252664" y="2098258"/>
            <a:ext cx="3249230" cy="4634664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23BC9B-F4AB-E84D-AE7E-9A4034F798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678" y="2543176"/>
            <a:ext cx="2743200" cy="216568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FFFFFF"/>
                </a:solidFill>
              </a:rPr>
              <a:t>Questions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402D3DD-B546-8E41-8072-51EF3DE087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678" y="4985251"/>
            <a:ext cx="2743200" cy="1144198"/>
          </a:xfrm>
        </p:spPr>
        <p:txBody>
          <a:bodyPr>
            <a:normAutofit/>
          </a:bodyPr>
          <a:lstStyle/>
          <a:p>
            <a:r>
              <a:rPr lang="en-US" sz="1500" dirty="0">
                <a:solidFill>
                  <a:srgbClr val="FFFFFF"/>
                </a:solidFill>
              </a:rPr>
              <a:t>Please contact Anu Vedantham at vedantham@harvard.edu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FB9660-F42F-4313-BBC4-47C007FE4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3344" y="4790075"/>
            <a:ext cx="1940093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F598D51F-646A-3049-8A44-DB4E3679B9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9560" y="1840758"/>
            <a:ext cx="4915159" cy="3035111"/>
          </a:xfrm>
          <a:prstGeom prst="rect">
            <a:avLst/>
          </a:prstGeom>
        </p:spPr>
      </p:pic>
      <p:pic>
        <p:nvPicPr>
          <p:cNvPr id="6" name="Picture 1" descr="page1image1825344">
            <a:extLst>
              <a:ext uri="{FF2B5EF4-FFF2-40B4-BE49-F238E27FC236}">
                <a16:creationId xmlns:a16="http://schemas.microsoft.com/office/drawing/2014/main" id="{D26CC5AB-5F23-6E47-992D-9E19207B6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250"/>
            <a:ext cx="91440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E7CAB65-F8BD-274B-82BB-3915863CA52C}"/>
              </a:ext>
            </a:extLst>
          </p:cNvPr>
          <p:cNvSpPr txBox="1"/>
          <p:nvPr/>
        </p:nvSpPr>
        <p:spPr>
          <a:xfrm>
            <a:off x="4230352" y="4920595"/>
            <a:ext cx="42335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4472C4">
                    <a:lumMod val="75000"/>
                  </a:srgbClr>
                </a:solidFill>
                <a:latin typeface="Calibri" panose="020F0502020204030204"/>
              </a:rPr>
              <a:t>Widener Tumblr: http://widenerlibrary.tumblr.com/</a:t>
            </a:r>
          </a:p>
        </p:txBody>
      </p:sp>
    </p:spTree>
    <p:extLst>
      <p:ext uri="{BB962C8B-B14F-4D97-AF65-F5344CB8AC3E}">
        <p14:creationId xmlns:p14="http://schemas.microsoft.com/office/powerpoint/2010/main" val="2094374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ABC’s of Buy 2 Pay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940175" y="4038600"/>
            <a:ext cx="4670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Mary Ann Bradley</a:t>
            </a:r>
          </a:p>
          <a:p>
            <a:pPr eaLnBrk="1" hangingPunct="1">
              <a:defRPr/>
            </a:pPr>
            <a:r>
              <a:rPr lang="en-US" sz="2000" i="1" dirty="0"/>
              <a:t>Associate Dean for Administrative Operations</a:t>
            </a:r>
          </a:p>
          <a:p>
            <a:pPr eaLnBrk="1" hangingPunct="1">
              <a:defRPr/>
            </a:pPr>
            <a:r>
              <a:rPr lang="en-US" sz="2400" b="1" dirty="0"/>
              <a:t>Andry McFall</a:t>
            </a:r>
          </a:p>
          <a:p>
            <a:pPr eaLnBrk="1" hangingPunct="1">
              <a:defRPr/>
            </a:pPr>
            <a:r>
              <a:rPr lang="en-US" sz="2000" i="1" dirty="0"/>
              <a:t>Manager of Procurement Operations,</a:t>
            </a:r>
          </a:p>
          <a:p>
            <a:pPr eaLnBrk="1" hangingPunct="1">
              <a:defRPr/>
            </a:pPr>
            <a:r>
              <a:rPr lang="en-US" sz="2000" i="1" dirty="0"/>
              <a:t>FAS Administrative Operations</a:t>
            </a:r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1543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Placeholder 2"/>
          <p:cNvSpPr>
            <a:spLocks noGrp="1"/>
          </p:cNvSpPr>
          <p:nvPr>
            <p:ph type="body" sz="quarter" idx="18"/>
          </p:nvPr>
        </p:nvSpPr>
        <p:spPr bwMode="auto">
          <a:xfrm>
            <a:off x="1498214" y="4172678"/>
            <a:ext cx="6059488" cy="205740"/>
          </a:xfrm>
        </p:spPr>
        <p:txBody>
          <a:bodyPr numCol="1" compatLnSpc="1">
            <a:prstTxWarp prst="textNoShape">
              <a:avLst/>
            </a:prstTxWarp>
          </a:bodyPr>
          <a:lstStyle/>
          <a:p>
            <a:pPr marL="0" indent="0"/>
            <a:r>
              <a:rPr lang="en-US" dirty="0">
                <a:solidFill>
                  <a:srgbClr val="595959"/>
                </a:solidFill>
              </a:rPr>
              <a:t>FAS Administrators’ Town Hall </a:t>
            </a:r>
          </a:p>
          <a:p>
            <a:pPr marL="0" indent="0"/>
            <a:r>
              <a:rPr lang="en-US" dirty="0">
                <a:solidFill>
                  <a:srgbClr val="595959"/>
                </a:solidFill>
              </a:rPr>
              <a:t>November 29, 2018	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3268241"/>
            <a:ext cx="8229600" cy="461897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42CC9F-1D06-4684-AD7A-F745D78F42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570" y="2068091"/>
            <a:ext cx="2643188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892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>
            <a:extLst>
              <a:ext uri="{FF2B5EF4-FFF2-40B4-BE49-F238E27FC236}">
                <a16:creationId xmlns:a16="http://schemas.microsoft.com/office/drawing/2014/main" id="{6AC842DA-B1C4-45EB-AC0B-BD82E131F9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313" y="5867400"/>
            <a:ext cx="8153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76263" indent="-227013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66775" indent="-176213">
              <a:spcBef>
                <a:spcPct val="20000"/>
              </a:spcBef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196975" indent="-163513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1604963" indent="-176213">
              <a:spcBef>
                <a:spcPct val="20000"/>
              </a:spcBef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062163" indent="-1762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519363" indent="-1762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2976563" indent="-1762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433763" indent="-1762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en-US" altLang="en-US" sz="1800" i="1" dirty="0">
                <a:solidFill>
                  <a:srgbClr val="800000"/>
                </a:solidFill>
                <a:ea typeface="ＭＳ Ｐゴシック" panose="020B0600070205080204" pitchFamily="34" charset="-128"/>
              </a:rPr>
              <a:t>Ninth annual FAS Giving Thanks Open House was held earlier this month. </a:t>
            </a:r>
          </a:p>
        </p:txBody>
      </p:sp>
      <p:sp>
        <p:nvSpPr>
          <p:cNvPr id="5123" name="Title 1">
            <a:extLst>
              <a:ext uri="{FF2B5EF4-FFF2-40B4-BE49-F238E27FC236}">
                <a16:creationId xmlns:a16="http://schemas.microsoft.com/office/drawing/2014/main" id="{4CE9CA04-BD76-4C90-882B-98783A3EF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 dirty="0"/>
              <a:t>FAS Giving Thanks</a:t>
            </a:r>
          </a:p>
        </p:txBody>
      </p:sp>
      <p:pic>
        <p:nvPicPr>
          <p:cNvPr id="5124" name="Picture 1">
            <a:extLst>
              <a:ext uri="{FF2B5EF4-FFF2-40B4-BE49-F238E27FC236}">
                <a16:creationId xmlns:a16="http://schemas.microsoft.com/office/drawing/2014/main" id="{7BFBF653-FED0-4DDF-82D6-FC4B849CBC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13" y="1393825"/>
            <a:ext cx="7467600" cy="419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0571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CF73E-5473-4CF1-AE46-380E4A7CA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 Engagement Council Member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438D95C-C5EC-41D4-9DDE-4A069FBC1727}"/>
              </a:ext>
            </a:extLst>
          </p:cNvPr>
          <p:cNvGraphicFramePr>
            <a:graphicFrameLocks noGrp="1"/>
          </p:cNvGraphicFramePr>
          <p:nvPr>
            <p:ph sz="quarter" idx="10"/>
            <p:extLst/>
          </p:nvPr>
        </p:nvGraphicFramePr>
        <p:xfrm>
          <a:off x="955675" y="1886837"/>
          <a:ext cx="7707862" cy="3325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455">
                  <a:extLst>
                    <a:ext uri="{9D8B030D-6E8A-4147-A177-3AD203B41FA5}">
                      <a16:colId xmlns:a16="http://schemas.microsoft.com/office/drawing/2014/main" val="1359743128"/>
                    </a:ext>
                  </a:extLst>
                </a:gridCol>
                <a:gridCol w="1803524">
                  <a:extLst>
                    <a:ext uri="{9D8B030D-6E8A-4147-A177-3AD203B41FA5}">
                      <a16:colId xmlns:a16="http://schemas.microsoft.com/office/drawing/2014/main" val="60666272"/>
                    </a:ext>
                  </a:extLst>
                </a:gridCol>
                <a:gridCol w="1742952">
                  <a:extLst>
                    <a:ext uri="{9D8B030D-6E8A-4147-A177-3AD203B41FA5}">
                      <a16:colId xmlns:a16="http://schemas.microsoft.com/office/drawing/2014/main" val="1776053975"/>
                    </a:ext>
                  </a:extLst>
                </a:gridCol>
                <a:gridCol w="352432">
                  <a:extLst>
                    <a:ext uri="{9D8B030D-6E8A-4147-A177-3AD203B41FA5}">
                      <a16:colId xmlns:a16="http://schemas.microsoft.com/office/drawing/2014/main" val="666276214"/>
                    </a:ext>
                  </a:extLst>
                </a:gridCol>
                <a:gridCol w="1724141">
                  <a:extLst>
                    <a:ext uri="{9D8B030D-6E8A-4147-A177-3AD203B41FA5}">
                      <a16:colId xmlns:a16="http://schemas.microsoft.com/office/drawing/2014/main" val="2278541062"/>
                    </a:ext>
                  </a:extLst>
                </a:gridCol>
                <a:gridCol w="1777358">
                  <a:extLst>
                    <a:ext uri="{9D8B030D-6E8A-4147-A177-3AD203B41FA5}">
                      <a16:colId xmlns:a16="http://schemas.microsoft.com/office/drawing/2014/main" val="1344886056"/>
                    </a:ext>
                  </a:extLst>
                </a:gridCol>
              </a:tblGrid>
              <a:tr h="286463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rticipa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epart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rticipa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epartmen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84880604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ndry McFall (Chair)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dmin Op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ebecca Solar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Fina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08134359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Katherine Gates (Co-chair)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dmin Op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Belinda Chu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GSA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36817181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Jason Jorgens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nimal Car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onica Oyam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HEB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41084172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hristy Kra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thletic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hawn Le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Hutchins Cent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29167877"/>
                  </a:ext>
                </a:extLst>
              </a:tr>
              <a:tr h="271361">
                <a:tc>
                  <a:txBody>
                    <a:bodyPr/>
                    <a:lstStyle/>
                    <a:p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Elizabeth Be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C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Karen Rynn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usic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75196181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Lisa Bal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C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nna Salvato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OEB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86287200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my Tsa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olleg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Jennifer Perr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sycholog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10216895"/>
                  </a:ext>
                </a:extLst>
              </a:tr>
              <a:tr h="262424">
                <a:tc>
                  <a:txBody>
                    <a:bodyPr/>
                    <a:lstStyle/>
                    <a:p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Jim Bart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C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Nuala McGow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A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31848878"/>
                  </a:ext>
                </a:extLst>
              </a:tr>
              <a:tr h="286463">
                <a:tc>
                  <a:txBody>
                    <a:bodyPr/>
                    <a:lstStyle/>
                    <a:p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arc Willi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C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ike Holm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omance Languag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84176315"/>
                  </a:ext>
                </a:extLst>
              </a:tr>
              <a:tr h="249789">
                <a:tc>
                  <a:txBody>
                    <a:bodyPr/>
                    <a:lstStyle/>
                    <a:p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Edward Silv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Economic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Lenia Constantinou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lavic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65133920"/>
                  </a:ext>
                </a:extLst>
              </a:tr>
              <a:tr h="250472">
                <a:tc>
                  <a:txBody>
                    <a:bodyPr/>
                    <a:lstStyle/>
                    <a:p>
                      <a:r>
                        <a:rPr lang="en-US" sz="900" dirty="0"/>
                        <a:t>1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Ann Gubnitsk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Financ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my Par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Women, Gender &amp; Sexual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91467281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145212-40AC-43A6-A251-C724B5B911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0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0B55E2-B904-4B62-BDA1-60481B834B84}"/>
              </a:ext>
            </a:extLst>
          </p:cNvPr>
          <p:cNvSpPr txBox="1"/>
          <p:nvPr/>
        </p:nvSpPr>
        <p:spPr>
          <a:xfrm>
            <a:off x="1057013" y="5418763"/>
            <a:ext cx="298158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50" dirty="0">
                <a:solidFill>
                  <a:srgbClr val="000000"/>
                </a:solidFill>
                <a:latin typeface="Source Sans Pro"/>
              </a:rPr>
              <a:t>*</a:t>
            </a:r>
            <a:r>
              <a:rPr lang="en-US" sz="900" dirty="0">
                <a:solidFill>
                  <a:srgbClr val="000000"/>
                </a:solidFill>
                <a:latin typeface="Source Sans Pro"/>
              </a:rPr>
              <a:t>Supported by the Admin Ops Team</a:t>
            </a:r>
          </a:p>
        </p:txBody>
      </p:sp>
    </p:spTree>
    <p:extLst>
      <p:ext uri="{BB962C8B-B14F-4D97-AF65-F5344CB8AC3E}">
        <p14:creationId xmlns:p14="http://schemas.microsoft.com/office/powerpoint/2010/main" val="424881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24758-4CDE-4638-9D50-190A74D0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P Overview and Objec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CE42A-2DEB-4B47-9C00-9AD2EA7542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1</a:t>
            </a:fld>
            <a:endParaRPr lang="en-US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9C760AF-2C44-485D-A08B-3EA92C00EED8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532607" y="1704816"/>
            <a:ext cx="6991350" cy="39073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019C69A-5D3B-4901-A5E9-0EE761271EB2}"/>
              </a:ext>
            </a:extLst>
          </p:cNvPr>
          <p:cNvSpPr/>
          <p:nvPr/>
        </p:nvSpPr>
        <p:spPr>
          <a:xfrm>
            <a:off x="4286250" y="5379244"/>
            <a:ext cx="285750" cy="1714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88B6DC-3E67-446D-88BE-7936CDD9AA31}"/>
              </a:ext>
            </a:extLst>
          </p:cNvPr>
          <p:cNvSpPr/>
          <p:nvPr/>
        </p:nvSpPr>
        <p:spPr>
          <a:xfrm>
            <a:off x="495300" y="5493544"/>
            <a:ext cx="6991350" cy="2714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51746C-4CAC-429B-89F7-8D032D2977F6}"/>
              </a:ext>
            </a:extLst>
          </p:cNvPr>
          <p:cNvSpPr/>
          <p:nvPr/>
        </p:nvSpPr>
        <p:spPr>
          <a:xfrm>
            <a:off x="495300" y="1793081"/>
            <a:ext cx="104775" cy="1857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50246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6DB85-B38D-44E9-8063-8E167FD9B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P Modu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2694EB-045B-4150-ABCC-969C952F4D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2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B0FCF7-A70D-4789-8D77-AF87678B8F8A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945206" y="3961047"/>
            <a:ext cx="1090422" cy="120677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D3377C-0360-448C-9428-C41C56D6CA6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945206" y="1989285"/>
            <a:ext cx="1090422" cy="12067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19CF11-C5BA-40F3-BA34-EB85822657F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125662" y="1989285"/>
            <a:ext cx="1090422" cy="12070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0FACE2-4887-4DE5-B0F0-907630CBC86A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5052738" y="1989048"/>
            <a:ext cx="1090422" cy="12070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A4B170-98E2-4819-998F-D33C4AE401B1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052738" y="3960810"/>
            <a:ext cx="1090422" cy="1207008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2322809-9CC3-4A15-9550-1556D0C9D565}"/>
              </a:ext>
            </a:extLst>
          </p:cNvPr>
          <p:cNvPicPr>
            <a:picLocks noGrp="1"/>
          </p:cNvPicPr>
          <p:nvPr>
            <p:ph sz="quarter" idx="10"/>
          </p:nvPr>
        </p:nvPicPr>
        <p:blipFill>
          <a:blip r:embed="rId7"/>
          <a:stretch>
            <a:fillRect/>
          </a:stretch>
        </p:blipFill>
        <p:spPr>
          <a:xfrm>
            <a:off x="6968947" y="3960810"/>
            <a:ext cx="1090422" cy="120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08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8BA4CF-F71B-40DA-91AE-08B6DDCA7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P Project Timelin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F5DA21D-2875-4956-826C-4C0F394A1023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358900" y="1814896"/>
            <a:ext cx="5943601" cy="374821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0BF9B6-44D4-40B2-B37A-609B37368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50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24758-4CDE-4638-9D50-190A74D0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Decision Making	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817D0B2-8743-47ED-9F41-3272ADF23C2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2010667" y="1765698"/>
            <a:ext cx="5591774" cy="375880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CE42A-2DEB-4B47-9C00-9AD2EA7542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23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D9A4F694-1393-4BA6-8EC2-C4B9AC147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295" y="1189037"/>
            <a:ext cx="7707862" cy="488024"/>
          </a:xfrm>
        </p:spPr>
        <p:txBody>
          <a:bodyPr/>
          <a:lstStyle/>
          <a:p>
            <a:r>
              <a:rPr lang="en-US" dirty="0"/>
              <a:t>B2P Work Stream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0" indent="0" fontAlgn="auto">
              <a:spcAft>
                <a:spcPts val="0"/>
              </a:spcAft>
              <a:defRPr/>
            </a:pP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</a:rPr>
            </a:b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+mn-ea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457189">
                <a:lnSpc>
                  <a:spcPct val="100000"/>
                </a:lnSpc>
                <a:defRPr/>
              </a:pPr>
              <a:t>2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132BA2-08D0-40C8-AAD3-ED029CB88A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844" y="2850592"/>
            <a:ext cx="8230313" cy="1156817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5B176A0-5D0E-4685-A8D2-DC08FD648BD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79295" y="1920873"/>
          <a:ext cx="7059808" cy="3604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904">
                  <a:extLst>
                    <a:ext uri="{9D8B030D-6E8A-4147-A177-3AD203B41FA5}">
                      <a16:colId xmlns:a16="http://schemas.microsoft.com/office/drawing/2014/main" val="2190774738"/>
                    </a:ext>
                  </a:extLst>
                </a:gridCol>
                <a:gridCol w="3529904">
                  <a:extLst>
                    <a:ext uri="{9D8B030D-6E8A-4147-A177-3AD203B41FA5}">
                      <a16:colId xmlns:a16="http://schemas.microsoft.com/office/drawing/2014/main" val="1872260224"/>
                    </a:ext>
                  </a:extLst>
                </a:gridCol>
              </a:tblGrid>
              <a:tr h="351974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Work Stream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Team Lead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55743670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Suppli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eri DeLe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48261005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r>
                        <a:rPr lang="en-US" sz="1400" dirty="0"/>
                        <a:t>Approval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oyce Kaplan/Theresa Butl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1670177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Contrac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izabeth Copeland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52131478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Sourc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uren Aiello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38613653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Integration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ry O’Brie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45334558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eProcur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eri DeLe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04406793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AP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eri DeLe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82955742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Reporting &amp; Analytic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oyce Kapla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18148328"/>
                  </a:ext>
                </a:extLst>
              </a:tr>
              <a:tr h="351974">
                <a:tc>
                  <a:txBody>
                    <a:bodyPr/>
                    <a:lstStyle/>
                    <a:p>
                      <a:r>
                        <a:rPr lang="en-US" sz="1400" dirty="0"/>
                        <a:t>Change Manag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aren Mancini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632125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3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24758-4CDE-4638-9D50-190A74D0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ool Participation in B2P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CE42A-2DEB-4B47-9C00-9AD2EA7542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6</a:t>
            </a:fld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8E03C24-17D2-4926-AFEE-2876FEDD02D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47541" y="1765698"/>
            <a:ext cx="5918026" cy="375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9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A6A4C7-583C-4F33-A9DA-B2F639122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>
              <a:lnSpc>
                <a:spcPct val="100000"/>
              </a:lnSpc>
              <a:defRPr/>
            </a:pPr>
            <a:fld id="{10FB95BA-D6E0-A141-92DE-F8E3C1FBF9AB}" type="slidenum">
              <a:rPr lang="en-US"/>
              <a:pPr defTabSz="685800">
                <a:lnSpc>
                  <a:spcPct val="100000"/>
                </a:lnSpc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 descr="Image result for collaboration">
            <a:extLst>
              <a:ext uri="{FF2B5EF4-FFF2-40B4-BE49-F238E27FC236}">
                <a16:creationId xmlns:a16="http://schemas.microsoft.com/office/drawing/2014/main" id="{E17B2D2B-F01C-4CB0-AA72-EFCE824DF8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172" y="857250"/>
            <a:ext cx="6874085" cy="4686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CB48BFB-8752-4CAB-B6B5-2FCDC6DA3414}"/>
              </a:ext>
            </a:extLst>
          </p:cNvPr>
          <p:cNvSpPr txBox="1">
            <a:spLocks/>
          </p:cNvSpPr>
          <p:nvPr/>
        </p:nvSpPr>
        <p:spPr bwMode="auto">
          <a:xfrm>
            <a:off x="1457325" y="857250"/>
            <a:ext cx="622935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50017"/>
                </a:solidFill>
                <a:latin typeface="Arial" charset="0"/>
                <a:cs typeface="Arial" charset="0"/>
              </a:defRPr>
            </a:lvl9pPr>
          </a:lstStyle>
          <a:p>
            <a:pPr defTabSz="342900">
              <a:lnSpc>
                <a:spcPct val="100000"/>
              </a:lnSpc>
            </a:pPr>
            <a:endParaRPr lang="en-US" sz="1800" kern="0" dirty="0">
              <a:latin typeface="Source Sans Pro Semibold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FDAC07C-76FA-41B0-BE8C-1A885EEE7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8777" y="1216792"/>
            <a:ext cx="7707862" cy="488024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32425F-4D84-4A41-8B30-1D640E51C322}"/>
              </a:ext>
            </a:extLst>
          </p:cNvPr>
          <p:cNvSpPr txBox="1"/>
          <p:nvPr/>
        </p:nvSpPr>
        <p:spPr>
          <a:xfrm>
            <a:off x="1162104" y="4976466"/>
            <a:ext cx="6332221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50" dirty="0">
                <a:solidFill>
                  <a:srgbClr val="C00000"/>
                </a:solidFill>
                <a:latin typeface="Source Sans Pro"/>
                <a:hlinkClick r:id="rId3"/>
              </a:rPr>
              <a:t>https://wiki.harvard.edu/confluence/pages/viewpage.action?pageId=227879721</a:t>
            </a:r>
            <a:endParaRPr lang="en-US" sz="1350" dirty="0">
              <a:solidFill>
                <a:srgbClr val="C00000"/>
              </a:solidFill>
              <a:latin typeface="Source Sans Pro"/>
            </a:endParaRPr>
          </a:p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C00000"/>
              </a:solidFill>
              <a:latin typeface="Source Sans Pro"/>
            </a:endParaRPr>
          </a:p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C00000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40608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algn="ctr" eaLnBrk="1" hangingPunct="1">
              <a:defRPr/>
            </a:pPr>
            <a:r>
              <a:rPr lang="en-US" sz="3200" dirty="0">
                <a:cs typeface="+mj-cs"/>
              </a:rPr>
              <a:t>HR Update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495800" y="4310063"/>
            <a:ext cx="4191000" cy="1752600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en-US" sz="2400" b="1" dirty="0">
                <a:cs typeface="+mn-cs"/>
              </a:rPr>
              <a:t>Chris Ciotti </a:t>
            </a:r>
          </a:p>
          <a:p>
            <a:pPr eaLnBrk="1" hangingPunct="1">
              <a:defRPr/>
            </a:pPr>
            <a:r>
              <a:rPr lang="en-US" sz="2000" i="1" dirty="0">
                <a:cs typeface="+mn-cs"/>
              </a:rPr>
              <a:t>Associate Dean for Human Resources, </a:t>
            </a:r>
          </a:p>
          <a:p>
            <a:pPr eaLnBrk="1" hangingPunct="1">
              <a:defRPr/>
            </a:pPr>
            <a:r>
              <a:rPr lang="en-US" sz="2000" i="1" dirty="0">
                <a:cs typeface="+mn-cs"/>
              </a:rPr>
              <a:t>FAS Human Resources</a:t>
            </a:r>
          </a:p>
          <a:p>
            <a:pPr algn="l" eaLnBrk="1" hangingPunct="1"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9838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3CA101-FF69-42C7-9E9A-94382CBE19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76400"/>
            <a:ext cx="5715000" cy="4572000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re are close to 100 faculty assistants spread throughout 20+ departments at FAS. 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ant to create opportunities to help make this community as inclusive and strong as possible. 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pcoming event focused on </a:t>
            </a:r>
            <a:r>
              <a:rPr lang="en-US" sz="2100" b="1" i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w to Negotiate When There is a Power Imbalance</a:t>
            </a:r>
            <a:r>
              <a:rPr lang="en-US" sz="2100" b="1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heduled for  Monday, January 14, 12:00 - 1:30 p.m. with lunch served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e ask for your flexibly in being supportive of faculty assistants attending this program</a:t>
            </a:r>
          </a:p>
        </p:txBody>
      </p:sp>
      <p:sp>
        <p:nvSpPr>
          <p:cNvPr id="7172" name="Title 1">
            <a:extLst>
              <a:ext uri="{FF2B5EF4-FFF2-40B4-BE49-F238E27FC236}">
                <a16:creationId xmlns:a16="http://schemas.microsoft.com/office/drawing/2014/main" id="{B8848A07-CD78-4E61-A4C6-30CBF016F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ommunity Building: Faculty Assista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D7BCCD-7B35-4039-AB5D-BC27D3648B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2427815"/>
            <a:ext cx="2002370" cy="200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709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:a16="http://schemas.microsoft.com/office/drawing/2014/main" id="{6ED1ADEA-542F-406C-9B6B-4116795FE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 dirty="0"/>
              <a:t>FAS Dean’s Distinction</a:t>
            </a:r>
          </a:p>
        </p:txBody>
      </p:sp>
      <p:sp>
        <p:nvSpPr>
          <p:cNvPr id="9219" name="Content Placeholder 2">
            <a:extLst>
              <a:ext uri="{FF2B5EF4-FFF2-40B4-BE49-F238E27FC236}">
                <a16:creationId xmlns:a16="http://schemas.microsoft.com/office/drawing/2014/main" id="{F0B16CBB-6A1C-4164-A2F8-405DA2CAC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232" y="1441244"/>
            <a:ext cx="8100568" cy="482917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Tenth annual Dean’s Distinction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Honors the significant achievements and contributions of FAS staff members and teams</a:t>
            </a:r>
            <a:endParaRPr lang="en-US" altLang="en-US" sz="2400" dirty="0">
              <a:solidFill>
                <a:srgbClr val="800000"/>
              </a:solidFill>
            </a:endParaRP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b="1" dirty="0">
                <a:solidFill>
                  <a:srgbClr val="800000"/>
                </a:solidFill>
              </a:rPr>
              <a:t>Nomination window opened on November 6 and will close tomorrow, November 30</a:t>
            </a:r>
            <a:endParaRPr lang="en-US" altLang="en-US" sz="2400" b="1" dirty="0"/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Please use this opportunity to nominate a strong Dean’s Distinction candidate</a:t>
            </a:r>
          </a:p>
        </p:txBody>
      </p:sp>
      <p:pic>
        <p:nvPicPr>
          <p:cNvPr id="2" name="Picture 3" descr="S:\SHARED\PROGRAMS_program team files\Dean's Distinction\DDlogo_big.jpg">
            <a:extLst>
              <a:ext uri="{FF2B5EF4-FFF2-40B4-BE49-F238E27FC236}">
                <a16:creationId xmlns:a16="http://schemas.microsoft.com/office/drawing/2014/main" id="{A37C060D-32EF-40F3-8EBD-2B53FC636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5029200"/>
            <a:ext cx="3184758" cy="1391524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185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3CA101-FF69-42C7-9E9A-94382CBE19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8382000" cy="5486400"/>
          </a:xfrm>
        </p:spPr>
        <p:txBody>
          <a:bodyPr/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en-US" b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tting Your Best Foot Forward: Tips for FAS Internal Candidates 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April 10, 2019</a:t>
            </a:r>
            <a:r>
              <a:rPr lang="en-US" i="1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(one remaining session)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  <a:defRPr/>
            </a:pPr>
            <a:br>
              <a:rPr lang="en-US" b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elp Shape Our FAS Community: Listen, Learn, and Use Your Voice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dirty="0"/>
              <a:t>Using Your Voice: Enhancing Psychological Safety | </a:t>
            </a:r>
            <a:r>
              <a:rPr lang="en-US" dirty="0">
                <a:hlinkClick r:id="rId4"/>
              </a:rPr>
              <a:t>December 17, 2018 </a:t>
            </a:r>
            <a:endParaRPr lang="en-US" i="1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dirty="0"/>
              <a:t>Empowering Bystanders: Fostering Workplace Civility | </a:t>
            </a:r>
            <a:r>
              <a:rPr lang="en-US" dirty="0">
                <a:hlinkClick r:id="rId5"/>
              </a:rPr>
              <a:t>January 30, 2019 </a:t>
            </a:r>
            <a:endParaRPr lang="en-US" i="1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  <a:defRPr/>
            </a:pPr>
            <a:br>
              <a:rPr lang="en-US" b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8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indfulness (HHR)</a:t>
            </a:r>
          </a:p>
          <a:p>
            <a:pPr marL="0" lvl="0" indent="234950"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indful Eating |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  <a:hlinkClick r:id="rId6"/>
              </a:rPr>
              <a:t>December 11, 2018 </a:t>
            </a:r>
            <a:r>
              <a:rPr lang="en-US" dirty="0">
                <a:solidFill>
                  <a:schemeClr val="tx1"/>
                </a:solidFill>
              </a:rPr>
              <a:t>and </a:t>
            </a:r>
            <a:r>
              <a:rPr lang="en-US" dirty="0">
                <a:solidFill>
                  <a:schemeClr val="tx1"/>
                </a:solidFill>
                <a:hlinkClick r:id="rId7"/>
              </a:rPr>
              <a:t>January 16, 2019</a:t>
            </a:r>
            <a:endParaRPr lang="en-US" dirty="0">
              <a:solidFill>
                <a:schemeClr val="tx1"/>
              </a:solidFill>
            </a:endParaRPr>
          </a:p>
          <a:p>
            <a:pPr marL="0" lvl="0" indent="0">
              <a:spcBef>
                <a:spcPts val="0"/>
              </a:spcBef>
              <a:buNone/>
            </a:pPr>
            <a:r>
              <a:rPr lang="en-US" sz="1200" dirty="0">
                <a:solidFill>
                  <a:schemeClr val="tx1"/>
                </a:solidFill>
                <a:hlinkClick r:id="rId7"/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lvl="0"/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naging Daily Stress |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December 4, 2018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72" name="Title 1">
            <a:extLst>
              <a:ext uri="{FF2B5EF4-FFF2-40B4-BE49-F238E27FC236}">
                <a16:creationId xmlns:a16="http://schemas.microsoft.com/office/drawing/2014/main" id="{B8848A07-CD78-4E61-A4C6-30CBF016F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0488" y="103187"/>
            <a:ext cx="7696200" cy="1039813"/>
          </a:xfrm>
        </p:spPr>
        <p:txBody>
          <a:bodyPr/>
          <a:lstStyle/>
          <a:p>
            <a:r>
              <a:rPr lang="en-US" altLang="en-US" dirty="0"/>
              <a:t>FAS HR Offerings: Upcoming Sessions</a:t>
            </a:r>
          </a:p>
        </p:txBody>
      </p:sp>
    </p:spTree>
    <p:extLst>
      <p:ext uri="{BB962C8B-B14F-4D97-AF65-F5344CB8AC3E}">
        <p14:creationId xmlns:p14="http://schemas.microsoft.com/office/powerpoint/2010/main" val="8926725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New HUCTW Agreement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581400" y="4310063"/>
            <a:ext cx="4670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Paul Curran</a:t>
            </a:r>
          </a:p>
          <a:p>
            <a:pPr eaLnBrk="1" hangingPunct="1">
              <a:defRPr/>
            </a:pPr>
            <a:r>
              <a:rPr lang="en-US" sz="2000" i="1" dirty="0"/>
              <a:t>Director of Employee Relations and Labor Relations, </a:t>
            </a:r>
          </a:p>
          <a:p>
            <a:pPr eaLnBrk="1" hangingPunct="1">
              <a:defRPr/>
            </a:pPr>
            <a:r>
              <a:rPr lang="en-US" sz="2000" i="1" dirty="0"/>
              <a:t>Office of Labor and Employee Relations</a:t>
            </a:r>
            <a:endParaRPr lang="en-US" sz="900" b="1" i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6653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br>
              <a:rPr lang="en-US" sz="3200" dirty="0"/>
            </a:br>
            <a:endParaRPr lang="en-US" sz="3200" b="1" dirty="0"/>
          </a:p>
        </p:txBody>
      </p:sp>
      <p:sp>
        <p:nvSpPr>
          <p:cNvPr id="51203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CE495C8-75DE-49CB-8CDE-5B030DD862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781" y="1524000"/>
            <a:ext cx="6757366" cy="44886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5E47C1A-92F8-4CAA-A8CD-3347DA1BCCE2}"/>
              </a:ext>
            </a:extLst>
          </p:cNvPr>
          <p:cNvSpPr txBox="1"/>
          <p:nvPr/>
        </p:nvSpPr>
        <p:spPr>
          <a:xfrm>
            <a:off x="1360488" y="304800"/>
            <a:ext cx="7250112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ishing you all a peaceful Holiday season!</a:t>
            </a:r>
          </a:p>
        </p:txBody>
      </p:sp>
    </p:spTree>
    <p:extLst>
      <p:ext uri="{BB962C8B-B14F-4D97-AF65-F5344CB8AC3E}">
        <p14:creationId xmlns:p14="http://schemas.microsoft.com/office/powerpoint/2010/main" val="7454090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pPr algn="ctr" eaLnBrk="1" hangingPunct="1"/>
            <a:r>
              <a:rPr lang="en-US" sz="3200" dirty="0"/>
              <a:t>FAS Administrators’ Town Hall</a:t>
            </a:r>
          </a:p>
        </p:txBody>
      </p:sp>
      <p:sp>
        <p:nvSpPr>
          <p:cNvPr id="8195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19600" y="4462463"/>
            <a:ext cx="4343400" cy="566737"/>
          </a:xfrm>
        </p:spPr>
        <p:txBody>
          <a:bodyPr/>
          <a:lstStyle/>
          <a:p>
            <a:pPr eaLnBrk="1" hangingPunct="1"/>
            <a:r>
              <a:rPr lang="en-US" sz="2000" b="1" dirty="0"/>
              <a:t>November 29, 2018</a:t>
            </a:r>
          </a:p>
          <a:p>
            <a:pPr eaLnBrk="1" hangingPunct="1"/>
            <a:r>
              <a:rPr lang="en-US" sz="2000" b="1" dirty="0"/>
              <a:t>Fong Auditorium, Boylston Hall</a:t>
            </a:r>
          </a:p>
          <a:p>
            <a:pPr eaLnBrk="1" hangingPunct="1"/>
            <a:endParaRPr lang="en-US" sz="2400" b="1" dirty="0"/>
          </a:p>
          <a:p>
            <a:pPr eaLnBrk="1" hangingPunct="1"/>
            <a:endParaRPr lang="en-US" sz="2400" b="1" dirty="0"/>
          </a:p>
        </p:txBody>
      </p:sp>
      <p:sp>
        <p:nvSpPr>
          <p:cNvPr id="8196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dirty="0"/>
              <a:t>Agenda</a:t>
            </a:r>
          </a:p>
        </p:txBody>
      </p:sp>
      <p:graphicFrame>
        <p:nvGraphicFramePr>
          <p:cNvPr id="5384" name="Group 264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4038969087"/>
              </p:ext>
            </p:extLst>
          </p:nvPr>
        </p:nvGraphicFramePr>
        <p:xfrm>
          <a:off x="838200" y="1295400"/>
          <a:ext cx="8763000" cy="5181600"/>
        </p:xfrm>
        <a:graphic>
          <a:graphicData uri="http://schemas.openxmlformats.org/drawingml/2006/table">
            <a:tbl>
              <a:tblPr/>
              <a:tblGrid>
                <a:gridCol w="50908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21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567326"/>
              </p:ext>
            </p:extLst>
          </p:nvPr>
        </p:nvGraphicFramePr>
        <p:xfrm>
          <a:off x="494675" y="1524000"/>
          <a:ext cx="8649325" cy="7076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7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onnect with FAS Colleagues</a:t>
                      </a:r>
                    </a:p>
                    <a:p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Ticknor Loung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0925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elcome, Introductions and Updat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Leslie Kirwan</a:t>
                      </a:r>
                    </a:p>
                    <a:p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Financial Updat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Leslie Kirwan, Jay Herlihy</a:t>
                      </a:r>
                    </a:p>
                    <a:p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Harvard Library Overview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nu Vedantham</a:t>
                      </a:r>
                    </a:p>
                    <a:p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ABC’s of B2P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Mary Ann Bradley, Andry McFall</a:t>
                      </a:r>
                    </a:p>
                    <a:p>
                      <a:endParaRPr lang="en-US" sz="1800" b="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HR Updates, New HUCTW Agreemen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Chris Ciotti, Paul Curran</a:t>
                      </a:r>
                    </a:p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Closing / Q &amp; A Session</a:t>
                      </a:r>
                    </a:p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Leslie Kirwan</a:t>
                      </a:r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25078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451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9682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77701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475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45770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156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161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Welcome, Introductions and General Updates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581400" y="4310063"/>
            <a:ext cx="4670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Leslie Kirwan</a:t>
            </a:r>
          </a:p>
          <a:p>
            <a:pPr eaLnBrk="1" hangingPunct="1">
              <a:defRPr/>
            </a:pPr>
            <a:r>
              <a:rPr lang="en-US" sz="2000" i="1" dirty="0"/>
              <a:t>Dean for Administration and Finance</a:t>
            </a:r>
          </a:p>
          <a:p>
            <a:pPr eaLnBrk="1" hangingPunct="1">
              <a:defRPr/>
            </a:pPr>
            <a:endParaRPr lang="en-US" sz="2000" i="1" dirty="0"/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328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Financial Update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581400" y="4310063"/>
            <a:ext cx="4670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Leslie Kirwan, Jay Herlihy</a:t>
            </a:r>
            <a:endParaRPr lang="en-US" sz="2000" i="1" dirty="0"/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163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Harvard Library Overview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581400" y="4310063"/>
            <a:ext cx="5105400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Anu Vedantham</a:t>
            </a:r>
          </a:p>
          <a:p>
            <a:pPr eaLnBrk="1" hangingPunct="1">
              <a:defRPr/>
            </a:pPr>
            <a:r>
              <a:rPr lang="en-US" sz="2000" i="1" dirty="0"/>
              <a:t>Director of Learning and Teaching Services,</a:t>
            </a:r>
          </a:p>
          <a:p>
            <a:pPr eaLnBrk="1" hangingPunct="1">
              <a:defRPr/>
            </a:pPr>
            <a:r>
              <a:rPr lang="en-US" sz="2000" i="1" dirty="0"/>
              <a:t> FAS Libraries</a:t>
            </a:r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411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F23BC9B-F4AB-E84D-AE7E-9A4034F798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31053" y="1857376"/>
            <a:ext cx="2532887" cy="2781671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300" dirty="0"/>
              <a:t>Harvard Library Update</a:t>
            </a:r>
            <a:br>
              <a:rPr lang="en-US" sz="3300" dirty="0"/>
            </a:br>
            <a:r>
              <a:rPr lang="en-US" sz="3300" dirty="0"/>
              <a:t>FAS Town Hall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402D3DD-B546-8E41-8072-51EF3DE087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1051" y="4639047"/>
            <a:ext cx="2532888" cy="1234441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1275" dirty="0"/>
              <a:t>Anu Vedantham </a:t>
            </a:r>
          </a:p>
          <a:p>
            <a:pPr algn="l"/>
            <a:r>
              <a:rPr lang="en-US" sz="1275" dirty="0"/>
              <a:t>Director of Learning and Teaching Services for FAS Libraries</a:t>
            </a:r>
          </a:p>
          <a:p>
            <a:pPr algn="l"/>
            <a:r>
              <a:rPr lang="en-US" sz="1275" dirty="0"/>
              <a:t>November 29, 2018</a:t>
            </a:r>
          </a:p>
        </p:txBody>
      </p:sp>
      <p:pic>
        <p:nvPicPr>
          <p:cNvPr id="7" name="Picture 1" descr="page22image1781440">
            <a:extLst>
              <a:ext uri="{FF2B5EF4-FFF2-40B4-BE49-F238E27FC236}">
                <a16:creationId xmlns:a16="http://schemas.microsoft.com/office/drawing/2014/main" id="{BA8A7979-66E5-A642-B536-78B80135F5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2" r="24325"/>
          <a:stretch/>
        </p:blipFill>
        <p:spPr bwMode="auto">
          <a:xfrm>
            <a:off x="22274" y="1304925"/>
            <a:ext cx="565097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 descr="page1image1825344">
            <a:extLst>
              <a:ext uri="{FF2B5EF4-FFF2-40B4-BE49-F238E27FC236}">
                <a16:creationId xmlns:a16="http://schemas.microsoft.com/office/drawing/2014/main" id="{D26CC5AB-5F23-6E47-992D-9E19207B6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5422"/>
            <a:ext cx="91440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2093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 Deck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Cover-Informal-Template-V2">
  <a:themeElements>
    <a:clrScheme name="Cover-Informal-Template-V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ver-Informal-Template-V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ver-Informal-Template-V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HPAC_PPT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Slide">
  <a:themeElements>
    <a:clrScheme name="3_Slide 6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293352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7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HUIT PPT Template 1.13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HIUIT Template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IUIT Template" id="{6FE9F0C1-D7E1-441B-B959-1D83ED741C14}" vid="{76E52DD5-CBEE-41E5-B71C-E525ACE66905}"/>
    </a:ext>
  </a:extLst>
</a:theme>
</file>

<file path=ppt/theme/theme22.xml><?xml version="1.0" encoding="utf-8"?>
<a:theme xmlns:a="http://schemas.openxmlformats.org/drawingml/2006/main" name="Slide Without Li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_HPAC_PPT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_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_CWD Master">
  <a:themeElements>
    <a:clrScheme name="Custom 1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70C0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FEB22 Taxable Reimbursements Brown Bag.pptx" id="{B84A36EA-4C89-4EBC-8EC3-C8C47BDD8F38}" vid="{5A729A8A-311A-4019-A221-AC3DDA326FEB}"/>
    </a:ext>
  </a:extLst>
</a:theme>
</file>

<file path=ppt/theme/theme28.xml><?xml version="1.0" encoding="utf-8"?>
<a:theme xmlns:a="http://schemas.openxmlformats.org/drawingml/2006/main" name="2_CWD Master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FEB22 Taxable Reimbursements Brown Bag.pptx" id="{B84A36EA-4C89-4EBC-8EC3-C8C47BDD8F38}" vid="{5A729A8A-311A-4019-A221-AC3DDA326FEB}"/>
    </a:ext>
  </a:extLst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_HUIT_PPT_Template_Blank_8.11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Health_Life Benefits PPT 16x9 Aspect Ratio">
  <a:themeElements>
    <a:clrScheme name="Stanford2">
      <a:dk1>
        <a:srgbClr val="000000"/>
      </a:dk1>
      <a:lt1>
        <a:srgbClr val="FFFFFF"/>
      </a:lt1>
      <a:dk2>
        <a:srgbClr val="DAD7CB"/>
      </a:dk2>
      <a:lt2>
        <a:srgbClr val="8C1515"/>
      </a:lt2>
      <a:accent1>
        <a:srgbClr val="8D3C1E"/>
      </a:accent1>
      <a:accent2>
        <a:srgbClr val="00505C"/>
      </a:accent2>
      <a:accent3>
        <a:srgbClr val="53284F"/>
      </a:accent3>
      <a:accent4>
        <a:srgbClr val="175E54"/>
      </a:accent4>
      <a:accent5>
        <a:srgbClr val="4D4F53"/>
      </a:accent5>
      <a:accent6>
        <a:srgbClr val="D2C295"/>
      </a:accent6>
      <a:hlink>
        <a:srgbClr val="A4001D"/>
      </a:hlink>
      <a:folHlink>
        <a:srgbClr val="000000"/>
      </a:folHlink>
    </a:clrScheme>
    <a:fontScheme name="Stanford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fad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Paper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efault Theme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HUIT Closing Thank you Slide">
  <a:themeElements>
    <a:clrScheme name="Harvard Email">
      <a:dk1>
        <a:srgbClr val="1E1E1E"/>
      </a:dk1>
      <a:lt1>
        <a:srgbClr val="FFFFFF"/>
      </a:lt1>
      <a:dk2>
        <a:srgbClr val="293352"/>
      </a:dk2>
      <a:lt2>
        <a:srgbClr val="F3F3F1"/>
      </a:lt2>
      <a:accent1>
        <a:srgbClr val="4E84C4"/>
      </a:accent1>
      <a:accent2>
        <a:srgbClr val="A51C30"/>
      </a:accent2>
      <a:accent3>
        <a:srgbClr val="52854C"/>
      </a:accent3>
      <a:accent4>
        <a:srgbClr val="C3D7A4"/>
      </a:accent4>
      <a:accent5>
        <a:srgbClr val="8C8179"/>
      </a:accent5>
      <a:accent6>
        <a:srgbClr val="8996A0"/>
      </a:accent6>
      <a:hlink>
        <a:srgbClr val="BAC5C6"/>
      </a:hlink>
      <a:folHlink>
        <a:srgbClr val="DE7008"/>
      </a:folHlink>
    </a:clrScheme>
    <a:fontScheme name="Closing Thank you Sl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losing Thank you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3_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2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3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4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5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6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7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8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9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BPS_Template</Template>
  <TotalTime>20172</TotalTime>
  <Words>662</Words>
  <Application>Microsoft Office PowerPoint</Application>
  <PresentationFormat>On-screen Show (4:3)</PresentationFormat>
  <Paragraphs>218</Paragraphs>
  <Slides>3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75" baseType="lpstr">
      <vt:lpstr>ＭＳ Ｐゴシック</vt:lpstr>
      <vt:lpstr>ＭＳ Ｐゴシック</vt:lpstr>
      <vt:lpstr>Arial</vt:lpstr>
      <vt:lpstr>Calibri</vt:lpstr>
      <vt:lpstr>Calibri Light</vt:lpstr>
      <vt:lpstr>Constantia</vt:lpstr>
      <vt:lpstr>Helvetica</vt:lpstr>
      <vt:lpstr>Source Sans Pro</vt:lpstr>
      <vt:lpstr>Source Sans Pro Semibold</vt:lpstr>
      <vt:lpstr>Times New Roman</vt:lpstr>
      <vt:lpstr>Verdana</vt:lpstr>
      <vt:lpstr>Wingdings</vt:lpstr>
      <vt:lpstr>EBPS Template</vt:lpstr>
      <vt:lpstr>3_Slide</vt:lpstr>
      <vt:lpstr>_HUIT_PPT_Template_Blank_8.11</vt:lpstr>
      <vt:lpstr>fss_2011_theme</vt:lpstr>
      <vt:lpstr>fadTheme</vt:lpstr>
      <vt:lpstr>Default Theme</vt:lpstr>
      <vt:lpstr>HUIT Closing Thank you Slide</vt:lpstr>
      <vt:lpstr>13_fss_2011_theme</vt:lpstr>
      <vt:lpstr>4_EBPS Template</vt:lpstr>
      <vt:lpstr>Blank Deck</vt:lpstr>
      <vt:lpstr>Cover-Informal-Template-V2</vt:lpstr>
      <vt:lpstr>HPAC_PPT</vt:lpstr>
      <vt:lpstr>5_Slide</vt:lpstr>
      <vt:lpstr>6_Slide</vt:lpstr>
      <vt:lpstr>7_Slide</vt:lpstr>
      <vt:lpstr>HUIT PPT Template 1.13.12</vt:lpstr>
      <vt:lpstr>HUIT PPT Template 1.11.12</vt:lpstr>
      <vt:lpstr>1_HUIT PPT Template 1.11.12</vt:lpstr>
      <vt:lpstr>5_EBPS Template</vt:lpstr>
      <vt:lpstr>2_EBPS Template</vt:lpstr>
      <vt:lpstr>HIUIT Template</vt:lpstr>
      <vt:lpstr>Slide Without Line</vt:lpstr>
      <vt:lpstr>3_HUIT PPT Template 1.11.12</vt:lpstr>
      <vt:lpstr>1_HPAC_PPT</vt:lpstr>
      <vt:lpstr>2_HUIT PPT Template 1.11.12</vt:lpstr>
      <vt:lpstr>1_fss_2011_theme</vt:lpstr>
      <vt:lpstr>1_CWD Master</vt:lpstr>
      <vt:lpstr>2_CWD Master</vt:lpstr>
      <vt:lpstr>Office Theme</vt:lpstr>
      <vt:lpstr>Health_Life Benefits PPT 16x9 Aspect Ratio</vt:lpstr>
      <vt:lpstr>think-cell Slide</vt:lpstr>
      <vt:lpstr>PowerPoint Presentation</vt:lpstr>
      <vt:lpstr>FAS Giving Thanks</vt:lpstr>
      <vt:lpstr>FAS Dean’s Distinction</vt:lpstr>
      <vt:lpstr>FAS Administrators’ Town Hall</vt:lpstr>
      <vt:lpstr>Agenda</vt:lpstr>
      <vt:lpstr>Welcome, Introductions and General Updates</vt:lpstr>
      <vt:lpstr>Financial Update</vt:lpstr>
      <vt:lpstr>Harvard Library Overview</vt:lpstr>
      <vt:lpstr>Harvard Library Update FAS Town Hall</vt:lpstr>
      <vt:lpstr>Compass</vt:lpstr>
      <vt:lpstr>http://library.Harvard.edu – New Library Website</vt:lpstr>
      <vt:lpstr>FAS  Liaison Librarians   – find yours!</vt:lpstr>
      <vt:lpstr>Senior Thesis Support</vt:lpstr>
      <vt:lpstr>First Year Librarian Pilot 2018</vt:lpstr>
      <vt:lpstr>PowerPoint Presentation</vt:lpstr>
      <vt:lpstr>Collect all  22 stickers!</vt:lpstr>
      <vt:lpstr>Questions?</vt:lpstr>
      <vt:lpstr>ABC’s of Buy 2 Pay</vt:lpstr>
      <vt:lpstr>PowerPoint Presentation</vt:lpstr>
      <vt:lpstr>FAS Engagement Council Members</vt:lpstr>
      <vt:lpstr>B2P Overview and Objectives</vt:lpstr>
      <vt:lpstr>B2P Modules</vt:lpstr>
      <vt:lpstr>B2P Project Timeline</vt:lpstr>
      <vt:lpstr>Collaborative Decision Making </vt:lpstr>
      <vt:lpstr>B2P Work Streams </vt:lpstr>
      <vt:lpstr>School Participation in B2P Project</vt:lpstr>
      <vt:lpstr>Thank You!</vt:lpstr>
      <vt:lpstr>HR Update</vt:lpstr>
      <vt:lpstr>Community Building: Faculty Assistants</vt:lpstr>
      <vt:lpstr>FAS HR Offerings: Upcoming Sessions</vt:lpstr>
      <vt:lpstr>New HUCTW Agreement</vt:lpstr>
      <vt:lpstr> </vt:lpstr>
    </vt:vector>
  </TitlesOfParts>
  <Company>Harvard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rvard University Enterprise Budgeting and Planning Ssytem Project  Technical Workshop</dc:title>
  <dc:creator>jaweaver</dc:creator>
  <cp:lastModifiedBy>Nasson, Stephanie</cp:lastModifiedBy>
  <cp:revision>1608</cp:revision>
  <cp:lastPrinted>2018-11-29T16:29:00Z</cp:lastPrinted>
  <dcterms:created xsi:type="dcterms:W3CDTF">2007-07-03T14:11:21Z</dcterms:created>
  <dcterms:modified xsi:type="dcterms:W3CDTF">2018-11-30T20:37:23Z</dcterms:modified>
</cp:coreProperties>
</file>